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tags/tag1.xml" ContentType="application/vnd.openxmlformats-officedocument.presentationml.tags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notesSlides/notesSlide1.xml" ContentType="application/vnd.openxmlformats-officedocument.presentationml.notesSlide+xml"/>
  <Override PartName="/ppt/tags/tag33.xml" ContentType="application/vnd.openxmlformats-officedocument.presentationml.tags+xml"/>
  <Override PartName="/ppt/notesSlides/notesSlide2.xml" ContentType="application/vnd.openxmlformats-officedocument.presentationml.notesSlide+xml"/>
  <Override PartName="/ppt/tags/tag34.xml" ContentType="application/vnd.openxmlformats-officedocument.presentationml.tags+xml"/>
  <Override PartName="/ppt/notesSlides/notesSlide3.xml" ContentType="application/vnd.openxmlformats-officedocument.presentationml.notesSlide+xml"/>
  <Override PartName="/ppt/tags/tag35.xml" ContentType="application/vnd.openxmlformats-officedocument.presentationml.tags+xml"/>
  <Override PartName="/ppt/notesSlides/notesSlide4.xml" ContentType="application/vnd.openxmlformats-officedocument.presentationml.notesSlide+xml"/>
  <Override PartName="/ppt/tags/tag36.xml" ContentType="application/vnd.openxmlformats-officedocument.presentationml.tags+xml"/>
  <Override PartName="/ppt/notesSlides/notesSlide5.xml" ContentType="application/vnd.openxmlformats-officedocument.presentationml.notesSlide+xml"/>
  <Override PartName="/ppt/tags/tag37.xml" ContentType="application/vnd.openxmlformats-officedocument.presentationml.tags+xml"/>
  <Override PartName="/ppt/notesSlides/notesSlide6.xml" ContentType="application/vnd.openxmlformats-officedocument.presentationml.notesSlide+xml"/>
  <Override PartName="/ppt/tags/tag38.xml" ContentType="application/vnd.openxmlformats-officedocument.presentationml.tags+xml"/>
  <Override PartName="/ppt/notesSlides/notesSlide7.xml" ContentType="application/vnd.openxmlformats-officedocument.presentationml.notesSlide+xml"/>
  <Override PartName="/ppt/tags/tag39.xml" ContentType="application/vnd.openxmlformats-officedocument.presentationml.tags+xml"/>
  <Override PartName="/ppt/notesSlides/notesSlide8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4"/>
    <p:sldMasterId id="2147483683" r:id="rId5"/>
  </p:sldMasterIdLst>
  <p:notesMasterIdLst>
    <p:notesMasterId r:id="rId21"/>
  </p:notesMasterIdLst>
  <p:handoutMasterIdLst>
    <p:handoutMasterId r:id="rId22"/>
  </p:handoutMasterIdLst>
  <p:sldIdLst>
    <p:sldId id="256" r:id="rId6"/>
    <p:sldId id="263" r:id="rId7"/>
    <p:sldId id="264" r:id="rId8"/>
    <p:sldId id="275" r:id="rId9"/>
    <p:sldId id="2147472829" r:id="rId10"/>
    <p:sldId id="2147378629" r:id="rId11"/>
    <p:sldId id="2147378630" r:id="rId12"/>
    <p:sldId id="2147378631" r:id="rId13"/>
    <p:sldId id="2147378632" r:id="rId14"/>
    <p:sldId id="2147475063" r:id="rId15"/>
    <p:sldId id="2147472830" r:id="rId16"/>
    <p:sldId id="2147472831" r:id="rId17"/>
    <p:sldId id="2147472751" r:id="rId18"/>
    <p:sldId id="2147472752" r:id="rId19"/>
    <p:sldId id="274" r:id="rId20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43754"/>
    <a:srgbClr val="004F9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DF3BA568-798C-49D0-8FA8-7ED7A0B42218}" v="197" dt="2025-08-07T13:18:53.403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995" autoAdjust="0"/>
    <p:restoredTop sz="94660"/>
  </p:normalViewPr>
  <p:slideViewPr>
    <p:cSldViewPr snapToGrid="0" showGuides="1">
      <p:cViewPr varScale="1">
        <p:scale>
          <a:sx n="70" d="100"/>
          <a:sy n="70" d="100"/>
        </p:scale>
        <p:origin x="1166" y="27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 showGuides="1">
      <p:cViewPr varScale="1">
        <p:scale>
          <a:sx n="77" d="100"/>
          <a:sy n="77" d="100"/>
        </p:scale>
        <p:origin x="1940" y="8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tableStyles" Target="tableStyles.xml"/><Relationship Id="rId3" Type="http://schemas.openxmlformats.org/officeDocument/2006/relationships/customXml" Target="../customXml/item3.xml"/><Relationship Id="rId21" Type="http://schemas.openxmlformats.org/officeDocument/2006/relationships/notesMaster" Target="notesMasters/notesMaster1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presProps" Target="presProps.xml"/><Relationship Id="rId28" Type="http://schemas.microsoft.com/office/2015/10/relationships/revisionInfo" Target="revisionInfo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handoutMaster" Target="handoutMasters/handoutMaster1.xml"/><Relationship Id="rId27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Fatma Alsagaf" userId="ef587b5e-378a-4bb3-aa9f-3c15b98138a4" providerId="ADAL" clId="{DF3BA568-798C-49D0-8FA8-7ED7A0B42218}"/>
    <pc:docChg chg="undo custSel modSld">
      <pc:chgData name="Fatma Alsagaf" userId="ef587b5e-378a-4bb3-aa9f-3c15b98138a4" providerId="ADAL" clId="{DF3BA568-798C-49D0-8FA8-7ED7A0B42218}" dt="2025-08-21T13:04:28.263" v="361" actId="20577"/>
      <pc:docMkLst>
        <pc:docMk/>
      </pc:docMkLst>
      <pc:sldChg chg="modSp mod">
        <pc:chgData name="Fatma Alsagaf" userId="ef587b5e-378a-4bb3-aa9f-3c15b98138a4" providerId="ADAL" clId="{DF3BA568-798C-49D0-8FA8-7ED7A0B42218}" dt="2025-08-21T13:04:28.263" v="361" actId="20577"/>
        <pc:sldMkLst>
          <pc:docMk/>
          <pc:sldMk cId="198709180" sldId="256"/>
        </pc:sldMkLst>
        <pc:spChg chg="mod">
          <ac:chgData name="Fatma Alsagaf" userId="ef587b5e-378a-4bb3-aa9f-3c15b98138a4" providerId="ADAL" clId="{DF3BA568-798C-49D0-8FA8-7ED7A0B42218}" dt="2025-08-21T13:04:28.263" v="361" actId="20577"/>
          <ac:spMkLst>
            <pc:docMk/>
            <pc:sldMk cId="198709180" sldId="256"/>
            <ac:spMk id="7" creationId="{98B54786-585B-286D-FDA5-658A362E3436}"/>
          </ac:spMkLst>
        </pc:spChg>
      </pc:sldChg>
      <pc:sldChg chg="modSp mod">
        <pc:chgData name="Fatma Alsagaf" userId="ef587b5e-378a-4bb3-aa9f-3c15b98138a4" providerId="ADAL" clId="{DF3BA568-798C-49D0-8FA8-7ED7A0B42218}" dt="2025-08-06T12:37:34.520" v="293" actId="20577"/>
        <pc:sldMkLst>
          <pc:docMk/>
          <pc:sldMk cId="2030895402" sldId="274"/>
        </pc:sldMkLst>
        <pc:spChg chg="mod">
          <ac:chgData name="Fatma Alsagaf" userId="ef587b5e-378a-4bb3-aa9f-3c15b98138a4" providerId="ADAL" clId="{DF3BA568-798C-49D0-8FA8-7ED7A0B42218}" dt="2025-08-06T12:37:34.520" v="293" actId="20577"/>
          <ac:spMkLst>
            <pc:docMk/>
            <pc:sldMk cId="2030895402" sldId="274"/>
            <ac:spMk id="8" creationId="{92D75785-0C54-EEFA-56A5-19041821F289}"/>
          </ac:spMkLst>
        </pc:spChg>
      </pc:sldChg>
      <pc:sldChg chg="modSp modAnim">
        <pc:chgData name="Fatma Alsagaf" userId="ef587b5e-378a-4bb3-aa9f-3c15b98138a4" providerId="ADAL" clId="{DF3BA568-798C-49D0-8FA8-7ED7A0B42218}" dt="2025-08-07T13:18:24.426" v="328"/>
        <pc:sldMkLst>
          <pc:docMk/>
          <pc:sldMk cId="3626355901" sldId="2147472751"/>
        </pc:sldMkLst>
        <pc:spChg chg="mod">
          <ac:chgData name="Fatma Alsagaf" userId="ef587b5e-378a-4bb3-aa9f-3c15b98138a4" providerId="ADAL" clId="{DF3BA568-798C-49D0-8FA8-7ED7A0B42218}" dt="2025-08-07T13:18:02.832" v="327"/>
          <ac:spMkLst>
            <pc:docMk/>
            <pc:sldMk cId="3626355901" sldId="2147472751"/>
            <ac:spMk id="6" creationId="{806820C0-F5B4-8EFC-A4BD-C1D169BBB662}"/>
          </ac:spMkLst>
        </pc:spChg>
      </pc:sldChg>
      <pc:sldChg chg="modSp modAnim modNotesTx">
        <pc:chgData name="Fatma Alsagaf" userId="ef587b5e-378a-4bb3-aa9f-3c15b98138a4" providerId="ADAL" clId="{DF3BA568-798C-49D0-8FA8-7ED7A0B42218}" dt="2025-08-07T13:18:53.403" v="347" actId="20577"/>
        <pc:sldMkLst>
          <pc:docMk/>
          <pc:sldMk cId="3287757105" sldId="2147472752"/>
        </pc:sldMkLst>
        <pc:spChg chg="mod">
          <ac:chgData name="Fatma Alsagaf" userId="ef587b5e-378a-4bb3-aa9f-3c15b98138a4" providerId="ADAL" clId="{DF3BA568-798C-49D0-8FA8-7ED7A0B42218}" dt="2025-08-07T13:18:53.403" v="347" actId="20577"/>
          <ac:spMkLst>
            <pc:docMk/>
            <pc:sldMk cId="3287757105" sldId="2147472752"/>
            <ac:spMk id="4" creationId="{EED4D053-4405-5A71-79A9-C1B53CBA528F}"/>
          </ac:spMkLst>
        </pc:spChg>
        <pc:spChg chg="mod">
          <ac:chgData name="Fatma Alsagaf" userId="ef587b5e-378a-4bb3-aa9f-3c15b98138a4" providerId="ADAL" clId="{DF3BA568-798C-49D0-8FA8-7ED7A0B42218}" dt="2025-08-07T13:17:17.166" v="321" actId="20577"/>
          <ac:spMkLst>
            <pc:docMk/>
            <pc:sldMk cId="3287757105" sldId="2147472752"/>
            <ac:spMk id="6" creationId="{806820C0-F5B4-8EFC-A4BD-C1D169BBB662}"/>
          </ac:spMkLst>
        </pc:spChg>
      </pc:sldChg>
    </pc:docChg>
  </pc:docChgLst>
  <pc:docChgLst>
    <pc:chgData name="Oliver Menebhi" userId="3f6a3078-7721-4311-a1c4-1afb0ef7523f" providerId="ADAL" clId="{B3663ACA-8A18-4DF6-BDE6-9803127C87C1}"/>
    <pc:docChg chg="custSel addSld delSld modSld sldOrd">
      <pc:chgData name="Oliver Menebhi" userId="3f6a3078-7721-4311-a1c4-1afb0ef7523f" providerId="ADAL" clId="{B3663ACA-8A18-4DF6-BDE6-9803127C87C1}" dt="2025-07-16T07:14:56.941" v="927" actId="20577"/>
      <pc:docMkLst>
        <pc:docMk/>
      </pc:docMkLst>
      <pc:sldChg chg="modSp mod">
        <pc:chgData name="Oliver Menebhi" userId="3f6a3078-7721-4311-a1c4-1afb0ef7523f" providerId="ADAL" clId="{B3663ACA-8A18-4DF6-BDE6-9803127C87C1}" dt="2025-07-16T06:55:59.661" v="0" actId="20577"/>
        <pc:sldMkLst>
          <pc:docMk/>
          <pc:sldMk cId="198709180" sldId="256"/>
        </pc:sldMkLst>
        <pc:spChg chg="mod">
          <ac:chgData name="Oliver Menebhi" userId="3f6a3078-7721-4311-a1c4-1afb0ef7523f" providerId="ADAL" clId="{B3663ACA-8A18-4DF6-BDE6-9803127C87C1}" dt="2025-07-16T06:55:59.661" v="0" actId="20577"/>
          <ac:spMkLst>
            <pc:docMk/>
            <pc:sldMk cId="198709180" sldId="256"/>
            <ac:spMk id="5" creationId="{D3097811-FFDF-0D94-F3F2-C77967D53A3D}"/>
          </ac:spMkLst>
        </pc:spChg>
      </pc:sldChg>
      <pc:sldChg chg="delSp mod">
        <pc:chgData name="Oliver Menebhi" userId="3f6a3078-7721-4311-a1c4-1afb0ef7523f" providerId="ADAL" clId="{B3663ACA-8A18-4DF6-BDE6-9803127C87C1}" dt="2025-07-16T07:00:13.377" v="364" actId="478"/>
        <pc:sldMkLst>
          <pc:docMk/>
          <pc:sldMk cId="711853774" sldId="263"/>
        </pc:sldMkLst>
      </pc:sldChg>
      <pc:sldChg chg="addSp delSp modSp mod">
        <pc:chgData name="Oliver Menebhi" userId="3f6a3078-7721-4311-a1c4-1afb0ef7523f" providerId="ADAL" clId="{B3663ACA-8A18-4DF6-BDE6-9803127C87C1}" dt="2025-07-16T07:01:41.782" v="385" actId="14100"/>
        <pc:sldMkLst>
          <pc:docMk/>
          <pc:sldMk cId="1282756989" sldId="264"/>
        </pc:sldMkLst>
        <pc:spChg chg="add mod">
          <ac:chgData name="Oliver Menebhi" userId="3f6a3078-7721-4311-a1c4-1afb0ef7523f" providerId="ADAL" clId="{B3663ACA-8A18-4DF6-BDE6-9803127C87C1}" dt="2025-07-16T07:01:26.890" v="383" actId="207"/>
          <ac:spMkLst>
            <pc:docMk/>
            <pc:sldMk cId="1282756989" sldId="264"/>
            <ac:spMk id="4" creationId="{181F6A5A-E53C-C0EE-90CB-DA3543F4E4ED}"/>
          </ac:spMkLst>
        </pc:spChg>
        <pc:spChg chg="mod">
          <ac:chgData name="Oliver Menebhi" userId="3f6a3078-7721-4311-a1c4-1afb0ef7523f" providerId="ADAL" clId="{B3663ACA-8A18-4DF6-BDE6-9803127C87C1}" dt="2025-07-16T06:57:15.897" v="45" actId="20577"/>
          <ac:spMkLst>
            <pc:docMk/>
            <pc:sldMk cId="1282756989" sldId="264"/>
            <ac:spMk id="5" creationId="{350F2BF6-B5DF-7B11-09AC-A065F0F8C297}"/>
          </ac:spMkLst>
        </pc:spChg>
        <pc:spChg chg="mod">
          <ac:chgData name="Oliver Menebhi" userId="3f6a3078-7721-4311-a1c4-1afb0ef7523f" providerId="ADAL" clId="{B3663ACA-8A18-4DF6-BDE6-9803127C87C1}" dt="2025-07-16T07:01:00.300" v="380" actId="20577"/>
          <ac:spMkLst>
            <pc:docMk/>
            <pc:sldMk cId="1282756989" sldId="264"/>
            <ac:spMk id="6" creationId="{82377107-BFFF-743F-2AE5-387B00B87A5F}"/>
          </ac:spMkLst>
        </pc:spChg>
        <pc:graphicFrameChg chg="add mod">
          <ac:chgData name="Oliver Menebhi" userId="3f6a3078-7721-4311-a1c4-1afb0ef7523f" providerId="ADAL" clId="{B3663ACA-8A18-4DF6-BDE6-9803127C87C1}" dt="2025-07-16T07:01:21.489" v="382" actId="1076"/>
          <ac:graphicFrameMkLst>
            <pc:docMk/>
            <pc:sldMk cId="1282756989" sldId="264"/>
            <ac:graphicFrameMk id="8" creationId="{75621DC8-07BD-2E31-232C-949446FB9438}"/>
          </ac:graphicFrameMkLst>
        </pc:graphicFrameChg>
        <pc:picChg chg="add mod">
          <ac:chgData name="Oliver Menebhi" userId="3f6a3078-7721-4311-a1c4-1afb0ef7523f" providerId="ADAL" clId="{B3663ACA-8A18-4DF6-BDE6-9803127C87C1}" dt="2025-07-16T07:01:41.782" v="385" actId="14100"/>
          <ac:picMkLst>
            <pc:docMk/>
            <pc:sldMk cId="1282756989" sldId="264"/>
            <ac:picMk id="7" creationId="{BF3BE1BB-A6E7-26D8-18CA-A08E760FDCCD}"/>
          </ac:picMkLst>
        </pc:picChg>
      </pc:sldChg>
      <pc:sldChg chg="del">
        <pc:chgData name="Oliver Menebhi" userId="3f6a3078-7721-4311-a1c4-1afb0ef7523f" providerId="ADAL" clId="{B3663ACA-8A18-4DF6-BDE6-9803127C87C1}" dt="2025-07-16T06:57:29.519" v="82" actId="47"/>
        <pc:sldMkLst>
          <pc:docMk/>
          <pc:sldMk cId="271532293" sldId="265"/>
        </pc:sldMkLst>
      </pc:sldChg>
      <pc:sldChg chg="delSp del mod ord">
        <pc:chgData name="Oliver Menebhi" userId="3f6a3078-7721-4311-a1c4-1afb0ef7523f" providerId="ADAL" clId="{B3663ACA-8A18-4DF6-BDE6-9803127C87C1}" dt="2025-07-16T07:05:29.525" v="488" actId="47"/>
        <pc:sldMkLst>
          <pc:docMk/>
          <pc:sldMk cId="1710822405" sldId="266"/>
        </pc:sldMkLst>
      </pc:sldChg>
      <pc:sldChg chg="del">
        <pc:chgData name="Oliver Menebhi" userId="3f6a3078-7721-4311-a1c4-1afb0ef7523f" providerId="ADAL" clId="{B3663ACA-8A18-4DF6-BDE6-9803127C87C1}" dt="2025-07-16T06:57:30.304" v="83" actId="47"/>
        <pc:sldMkLst>
          <pc:docMk/>
          <pc:sldMk cId="3191247555" sldId="269"/>
        </pc:sldMkLst>
      </pc:sldChg>
      <pc:sldChg chg="del">
        <pc:chgData name="Oliver Menebhi" userId="3f6a3078-7721-4311-a1c4-1afb0ef7523f" providerId="ADAL" clId="{B3663ACA-8A18-4DF6-BDE6-9803127C87C1}" dt="2025-07-16T06:57:33.910" v="86" actId="47"/>
        <pc:sldMkLst>
          <pc:docMk/>
          <pc:sldMk cId="134894632" sldId="270"/>
        </pc:sldMkLst>
      </pc:sldChg>
      <pc:sldChg chg="del">
        <pc:chgData name="Oliver Menebhi" userId="3f6a3078-7721-4311-a1c4-1afb0ef7523f" providerId="ADAL" clId="{B3663ACA-8A18-4DF6-BDE6-9803127C87C1}" dt="2025-07-16T06:57:34.389" v="87" actId="47"/>
        <pc:sldMkLst>
          <pc:docMk/>
          <pc:sldMk cId="2412515236" sldId="271"/>
        </pc:sldMkLst>
      </pc:sldChg>
      <pc:sldChg chg="del">
        <pc:chgData name="Oliver Menebhi" userId="3f6a3078-7721-4311-a1c4-1afb0ef7523f" providerId="ADAL" clId="{B3663ACA-8A18-4DF6-BDE6-9803127C87C1}" dt="2025-07-16T06:57:37.143" v="88" actId="47"/>
        <pc:sldMkLst>
          <pc:docMk/>
          <pc:sldMk cId="3134513593" sldId="272"/>
        </pc:sldMkLst>
      </pc:sldChg>
      <pc:sldChg chg="del">
        <pc:chgData name="Oliver Menebhi" userId="3f6a3078-7721-4311-a1c4-1afb0ef7523f" providerId="ADAL" clId="{B3663ACA-8A18-4DF6-BDE6-9803127C87C1}" dt="2025-07-16T06:57:38.639" v="89" actId="47"/>
        <pc:sldMkLst>
          <pc:docMk/>
          <pc:sldMk cId="4182459783" sldId="273"/>
        </pc:sldMkLst>
      </pc:sldChg>
      <pc:sldChg chg="delSp modSp mod">
        <pc:chgData name="Oliver Menebhi" userId="3f6a3078-7721-4311-a1c4-1afb0ef7523f" providerId="ADAL" clId="{B3663ACA-8A18-4DF6-BDE6-9803127C87C1}" dt="2025-07-16T06:59:54.429" v="362" actId="20577"/>
        <pc:sldMkLst>
          <pc:docMk/>
          <pc:sldMk cId="2030895402" sldId="274"/>
        </pc:sldMkLst>
        <pc:spChg chg="mod">
          <ac:chgData name="Oliver Menebhi" userId="3f6a3078-7721-4311-a1c4-1afb0ef7523f" providerId="ADAL" clId="{B3663ACA-8A18-4DF6-BDE6-9803127C87C1}" dt="2025-07-16T06:59:54.429" v="362" actId="20577"/>
          <ac:spMkLst>
            <pc:docMk/>
            <pc:sldMk cId="2030895402" sldId="274"/>
            <ac:spMk id="8" creationId="{92D75785-0C54-EEFA-56A5-19041821F289}"/>
          </ac:spMkLst>
        </pc:spChg>
      </pc:sldChg>
      <pc:sldChg chg="addSp delSp modSp add mod ord delAnim modAnim">
        <pc:chgData name="Oliver Menebhi" userId="3f6a3078-7721-4311-a1c4-1afb0ef7523f" providerId="ADAL" clId="{B3663ACA-8A18-4DF6-BDE6-9803127C87C1}" dt="2025-07-16T07:02:31.752" v="428" actId="20577"/>
        <pc:sldMkLst>
          <pc:docMk/>
          <pc:sldMk cId="2416139910" sldId="275"/>
        </pc:sldMkLst>
        <pc:spChg chg="add mod">
          <ac:chgData name="Oliver Menebhi" userId="3f6a3078-7721-4311-a1c4-1afb0ef7523f" providerId="ADAL" clId="{B3663ACA-8A18-4DF6-BDE6-9803127C87C1}" dt="2025-07-16T07:02:09.698" v="422" actId="20577"/>
          <ac:spMkLst>
            <pc:docMk/>
            <pc:sldMk cId="2416139910" sldId="275"/>
            <ac:spMk id="6" creationId="{CBB726D9-60AA-72B6-3C08-4DD52FA9E50C}"/>
          </ac:spMkLst>
        </pc:spChg>
        <pc:spChg chg="mod">
          <ac:chgData name="Oliver Menebhi" userId="3f6a3078-7721-4311-a1c4-1afb0ef7523f" providerId="ADAL" clId="{B3663ACA-8A18-4DF6-BDE6-9803127C87C1}" dt="2025-07-16T07:02:26.688" v="424" actId="1076"/>
          <ac:spMkLst>
            <pc:docMk/>
            <pc:sldMk cId="2416139910" sldId="275"/>
            <ac:spMk id="19" creationId="{D76819EB-BAFA-B02D-BF3A-AEA344F6F7E5}"/>
          </ac:spMkLst>
        </pc:spChg>
        <pc:spChg chg="add mod">
          <ac:chgData name="Oliver Menebhi" userId="3f6a3078-7721-4311-a1c4-1afb0ef7523f" providerId="ADAL" clId="{B3663ACA-8A18-4DF6-BDE6-9803127C87C1}" dt="2025-07-16T07:02:20.925" v="423"/>
          <ac:spMkLst>
            <pc:docMk/>
            <pc:sldMk cId="2416139910" sldId="275"/>
            <ac:spMk id="20" creationId="{2F8E8302-C18B-1446-F11A-B04833F12A63}"/>
          </ac:spMkLst>
        </pc:spChg>
        <pc:spChg chg="mod">
          <ac:chgData name="Oliver Menebhi" userId="3f6a3078-7721-4311-a1c4-1afb0ef7523f" providerId="ADAL" clId="{B3663ACA-8A18-4DF6-BDE6-9803127C87C1}" dt="2025-07-16T07:02:26.688" v="424" actId="1076"/>
          <ac:spMkLst>
            <pc:docMk/>
            <pc:sldMk cId="2416139910" sldId="275"/>
            <ac:spMk id="22" creationId="{40E36D11-8676-9ED8-31C8-3D09213C63A4}"/>
          </ac:spMkLst>
        </pc:spChg>
        <pc:spChg chg="add mod">
          <ac:chgData name="Oliver Menebhi" userId="3f6a3078-7721-4311-a1c4-1afb0ef7523f" providerId="ADAL" clId="{B3663ACA-8A18-4DF6-BDE6-9803127C87C1}" dt="2025-07-16T07:02:26.688" v="424" actId="1076"/>
          <ac:spMkLst>
            <pc:docMk/>
            <pc:sldMk cId="2416139910" sldId="275"/>
            <ac:spMk id="23" creationId="{02597B20-0CD6-55C2-6E95-25D05D4BA602}"/>
          </ac:spMkLst>
        </pc:spChg>
        <pc:spChg chg="mod">
          <ac:chgData name="Oliver Menebhi" userId="3f6a3078-7721-4311-a1c4-1afb0ef7523f" providerId="ADAL" clId="{B3663ACA-8A18-4DF6-BDE6-9803127C87C1}" dt="2025-07-16T07:02:26.688" v="424" actId="1076"/>
          <ac:spMkLst>
            <pc:docMk/>
            <pc:sldMk cId="2416139910" sldId="275"/>
            <ac:spMk id="24" creationId="{E890B008-F3CC-3E87-8366-5263E66EA0D7}"/>
          </ac:spMkLst>
        </pc:spChg>
        <pc:spChg chg="add mod">
          <ac:chgData name="Oliver Menebhi" userId="3f6a3078-7721-4311-a1c4-1afb0ef7523f" providerId="ADAL" clId="{B3663ACA-8A18-4DF6-BDE6-9803127C87C1}" dt="2025-07-16T07:02:31.752" v="428" actId="20577"/>
          <ac:spMkLst>
            <pc:docMk/>
            <pc:sldMk cId="2416139910" sldId="275"/>
            <ac:spMk id="25" creationId="{86F661A5-4449-E149-8778-4178B8B4AD55}"/>
          </ac:spMkLst>
        </pc:spChg>
        <pc:spChg chg="add mod">
          <ac:chgData name="Oliver Menebhi" userId="3f6a3078-7721-4311-a1c4-1afb0ef7523f" providerId="ADAL" clId="{B3663ACA-8A18-4DF6-BDE6-9803127C87C1}" dt="2025-07-16T07:02:26.688" v="424" actId="1076"/>
          <ac:spMkLst>
            <pc:docMk/>
            <pc:sldMk cId="2416139910" sldId="275"/>
            <ac:spMk id="26" creationId="{40394E84-1724-E8D3-B70E-0D8DF7CCACA7}"/>
          </ac:spMkLst>
        </pc:spChg>
        <pc:spChg chg="add mod">
          <ac:chgData name="Oliver Menebhi" userId="3f6a3078-7721-4311-a1c4-1afb0ef7523f" providerId="ADAL" clId="{B3663ACA-8A18-4DF6-BDE6-9803127C87C1}" dt="2025-07-16T07:02:26.688" v="424" actId="1076"/>
          <ac:spMkLst>
            <pc:docMk/>
            <pc:sldMk cId="2416139910" sldId="275"/>
            <ac:spMk id="27" creationId="{0257968D-77E3-6F20-F808-3119D0BACB34}"/>
          </ac:spMkLst>
        </pc:spChg>
        <pc:spChg chg="mod">
          <ac:chgData name="Oliver Menebhi" userId="3f6a3078-7721-4311-a1c4-1afb0ef7523f" providerId="ADAL" clId="{B3663ACA-8A18-4DF6-BDE6-9803127C87C1}" dt="2025-07-16T07:02:26.688" v="424" actId="1076"/>
          <ac:spMkLst>
            <pc:docMk/>
            <pc:sldMk cId="2416139910" sldId="275"/>
            <ac:spMk id="28" creationId="{7DB2EE32-DAA6-E0EB-16BB-797A57A4D69C}"/>
          </ac:spMkLst>
        </pc:spChg>
        <pc:spChg chg="add mod">
          <ac:chgData name="Oliver Menebhi" userId="3f6a3078-7721-4311-a1c4-1afb0ef7523f" providerId="ADAL" clId="{B3663ACA-8A18-4DF6-BDE6-9803127C87C1}" dt="2025-07-16T07:02:26.688" v="424" actId="1076"/>
          <ac:spMkLst>
            <pc:docMk/>
            <pc:sldMk cId="2416139910" sldId="275"/>
            <ac:spMk id="29" creationId="{464A122F-17F3-6AC2-D52F-B1EEEAC68DD8}"/>
          </ac:spMkLst>
        </pc:spChg>
        <pc:spChg chg="mod">
          <ac:chgData name="Oliver Menebhi" userId="3f6a3078-7721-4311-a1c4-1afb0ef7523f" providerId="ADAL" clId="{B3663ACA-8A18-4DF6-BDE6-9803127C87C1}" dt="2025-07-16T07:02:26.688" v="424" actId="1076"/>
          <ac:spMkLst>
            <pc:docMk/>
            <pc:sldMk cId="2416139910" sldId="275"/>
            <ac:spMk id="30" creationId="{41781977-04B8-D625-86A4-F119248876EE}"/>
          </ac:spMkLst>
        </pc:spChg>
        <pc:spChg chg="mod">
          <ac:chgData name="Oliver Menebhi" userId="3f6a3078-7721-4311-a1c4-1afb0ef7523f" providerId="ADAL" clId="{B3663ACA-8A18-4DF6-BDE6-9803127C87C1}" dt="2025-07-16T07:02:20.925" v="423"/>
          <ac:spMkLst>
            <pc:docMk/>
            <pc:sldMk cId="2416139910" sldId="275"/>
            <ac:spMk id="35" creationId="{7FC9FAC8-24E2-51B6-96C8-441341F5751A}"/>
          </ac:spMkLst>
        </pc:spChg>
        <pc:spChg chg="mod">
          <ac:chgData name="Oliver Menebhi" userId="3f6a3078-7721-4311-a1c4-1afb0ef7523f" providerId="ADAL" clId="{B3663ACA-8A18-4DF6-BDE6-9803127C87C1}" dt="2025-07-16T07:02:20.925" v="423"/>
          <ac:spMkLst>
            <pc:docMk/>
            <pc:sldMk cId="2416139910" sldId="275"/>
            <ac:spMk id="45" creationId="{BBEEFD14-CA0F-E67A-6249-274CE2A46CCD}"/>
          </ac:spMkLst>
        </pc:spChg>
        <pc:spChg chg="mod">
          <ac:chgData name="Oliver Menebhi" userId="3f6a3078-7721-4311-a1c4-1afb0ef7523f" providerId="ADAL" clId="{B3663ACA-8A18-4DF6-BDE6-9803127C87C1}" dt="2025-07-16T07:02:20.925" v="423"/>
          <ac:spMkLst>
            <pc:docMk/>
            <pc:sldMk cId="2416139910" sldId="275"/>
            <ac:spMk id="60" creationId="{C50E1399-A0BE-652D-442B-ADC5373AF30A}"/>
          </ac:spMkLst>
        </pc:spChg>
        <pc:spChg chg="mod">
          <ac:chgData name="Oliver Menebhi" userId="3f6a3078-7721-4311-a1c4-1afb0ef7523f" providerId="ADAL" clId="{B3663ACA-8A18-4DF6-BDE6-9803127C87C1}" dt="2025-07-16T07:02:20.925" v="423"/>
          <ac:spMkLst>
            <pc:docMk/>
            <pc:sldMk cId="2416139910" sldId="275"/>
            <ac:spMk id="62" creationId="{C290814C-013B-7E32-45DD-448AF519A162}"/>
          </ac:spMkLst>
        </pc:spChg>
      </pc:sldChg>
      <pc:sldChg chg="del">
        <pc:chgData name="Oliver Menebhi" userId="3f6a3078-7721-4311-a1c4-1afb0ef7523f" providerId="ADAL" clId="{B3663ACA-8A18-4DF6-BDE6-9803127C87C1}" dt="2025-07-16T07:00:06.623" v="363" actId="47"/>
        <pc:sldMkLst>
          <pc:docMk/>
          <pc:sldMk cId="3476715802" sldId="275"/>
        </pc:sldMkLst>
      </pc:sldChg>
      <pc:sldChg chg="del">
        <pc:chgData name="Oliver Menebhi" userId="3f6a3078-7721-4311-a1c4-1afb0ef7523f" providerId="ADAL" clId="{B3663ACA-8A18-4DF6-BDE6-9803127C87C1}" dt="2025-07-16T06:57:28.880" v="81" actId="47"/>
        <pc:sldMkLst>
          <pc:docMk/>
          <pc:sldMk cId="827801409" sldId="276"/>
        </pc:sldMkLst>
      </pc:sldChg>
      <pc:sldChg chg="del">
        <pc:chgData name="Oliver Menebhi" userId="3f6a3078-7721-4311-a1c4-1afb0ef7523f" providerId="ADAL" clId="{B3663ACA-8A18-4DF6-BDE6-9803127C87C1}" dt="2025-07-16T06:57:30.845" v="84" actId="47"/>
        <pc:sldMkLst>
          <pc:docMk/>
          <pc:sldMk cId="761355881" sldId="277"/>
        </pc:sldMkLst>
      </pc:sldChg>
      <pc:sldChg chg="del">
        <pc:chgData name="Oliver Menebhi" userId="3f6a3078-7721-4311-a1c4-1afb0ef7523f" providerId="ADAL" clId="{B3663ACA-8A18-4DF6-BDE6-9803127C87C1}" dt="2025-07-16T06:57:31.206" v="85" actId="47"/>
        <pc:sldMkLst>
          <pc:docMk/>
          <pc:sldMk cId="404410523" sldId="278"/>
        </pc:sldMkLst>
      </pc:sldChg>
      <pc:sldChg chg="modSp add mod">
        <pc:chgData name="Oliver Menebhi" userId="3f6a3078-7721-4311-a1c4-1afb0ef7523f" providerId="ADAL" clId="{B3663ACA-8A18-4DF6-BDE6-9803127C87C1}" dt="2025-07-16T07:04:49.234" v="446" actId="20577"/>
        <pc:sldMkLst>
          <pc:docMk/>
          <pc:sldMk cId="2988757502" sldId="2147378629"/>
        </pc:sldMkLst>
        <pc:spChg chg="mod">
          <ac:chgData name="Oliver Menebhi" userId="3f6a3078-7721-4311-a1c4-1afb0ef7523f" providerId="ADAL" clId="{B3663ACA-8A18-4DF6-BDE6-9803127C87C1}" dt="2025-07-16T07:04:49.234" v="446" actId="20577"/>
          <ac:spMkLst>
            <pc:docMk/>
            <pc:sldMk cId="2988757502" sldId="2147378629"/>
            <ac:spMk id="3" creationId="{2110808A-C4A3-444E-0085-F85036D4E976}"/>
          </ac:spMkLst>
        </pc:spChg>
      </pc:sldChg>
      <pc:sldChg chg="add">
        <pc:chgData name="Oliver Menebhi" userId="3f6a3078-7721-4311-a1c4-1afb0ef7523f" providerId="ADAL" clId="{B3663ACA-8A18-4DF6-BDE6-9803127C87C1}" dt="2025-07-16T07:03:55.654" v="430"/>
        <pc:sldMkLst>
          <pc:docMk/>
          <pc:sldMk cId="78340602" sldId="2147378630"/>
        </pc:sldMkLst>
      </pc:sldChg>
      <pc:sldChg chg="modSp add mod">
        <pc:chgData name="Oliver Menebhi" userId="3f6a3078-7721-4311-a1c4-1afb0ef7523f" providerId="ADAL" clId="{B3663ACA-8A18-4DF6-BDE6-9803127C87C1}" dt="2025-07-16T07:05:06.752" v="462" actId="20577"/>
        <pc:sldMkLst>
          <pc:docMk/>
          <pc:sldMk cId="425199607" sldId="2147378631"/>
        </pc:sldMkLst>
        <pc:spChg chg="mod">
          <ac:chgData name="Oliver Menebhi" userId="3f6a3078-7721-4311-a1c4-1afb0ef7523f" providerId="ADAL" clId="{B3663ACA-8A18-4DF6-BDE6-9803127C87C1}" dt="2025-07-16T07:05:06.752" v="462" actId="20577"/>
          <ac:spMkLst>
            <pc:docMk/>
            <pc:sldMk cId="425199607" sldId="2147378631"/>
            <ac:spMk id="3" creationId="{2110808A-C4A3-444E-0085-F85036D4E976}"/>
          </ac:spMkLst>
        </pc:spChg>
      </pc:sldChg>
      <pc:sldChg chg="addSp modSp add mod modAnim">
        <pc:chgData name="Oliver Menebhi" userId="3f6a3078-7721-4311-a1c4-1afb0ef7523f" providerId="ADAL" clId="{B3663ACA-8A18-4DF6-BDE6-9803127C87C1}" dt="2025-07-16T07:09:49.585" v="642"/>
        <pc:sldMkLst>
          <pc:docMk/>
          <pc:sldMk cId="1014985269" sldId="2147378632"/>
        </pc:sldMkLst>
        <pc:spChg chg="mod">
          <ac:chgData name="Oliver Menebhi" userId="3f6a3078-7721-4311-a1c4-1afb0ef7523f" providerId="ADAL" clId="{B3663ACA-8A18-4DF6-BDE6-9803127C87C1}" dt="2025-07-16T07:05:24.073" v="487" actId="14100"/>
          <ac:spMkLst>
            <pc:docMk/>
            <pc:sldMk cId="1014985269" sldId="2147378632"/>
            <ac:spMk id="3" creationId="{2110808A-C4A3-444E-0085-F85036D4E976}"/>
          </ac:spMkLst>
        </pc:spChg>
      </pc:sldChg>
      <pc:sldChg chg="modSp add">
        <pc:chgData name="Oliver Menebhi" userId="3f6a3078-7721-4311-a1c4-1afb0ef7523f" providerId="ADAL" clId="{B3663ACA-8A18-4DF6-BDE6-9803127C87C1}" dt="2025-07-16T07:12:47.735" v="754" actId="20577"/>
        <pc:sldMkLst>
          <pc:docMk/>
          <pc:sldMk cId="3626355901" sldId="2147472751"/>
        </pc:sldMkLst>
        <pc:spChg chg="mod">
          <ac:chgData name="Oliver Menebhi" userId="3f6a3078-7721-4311-a1c4-1afb0ef7523f" providerId="ADAL" clId="{B3663ACA-8A18-4DF6-BDE6-9803127C87C1}" dt="2025-07-16T07:11:22.034" v="688" actId="20577"/>
          <ac:spMkLst>
            <pc:docMk/>
            <pc:sldMk cId="3626355901" sldId="2147472751"/>
            <ac:spMk id="6" creationId="{806820C0-F5B4-8EFC-A4BD-C1D169BBB662}"/>
          </ac:spMkLst>
        </pc:spChg>
        <pc:spChg chg="mod">
          <ac:chgData name="Oliver Menebhi" userId="3f6a3078-7721-4311-a1c4-1afb0ef7523f" providerId="ADAL" clId="{B3663ACA-8A18-4DF6-BDE6-9803127C87C1}" dt="2025-07-16T07:12:47.735" v="754" actId="20577"/>
          <ac:spMkLst>
            <pc:docMk/>
            <pc:sldMk cId="3626355901" sldId="2147472751"/>
            <ac:spMk id="8" creationId="{1853B8B7-08D7-C9E3-2515-E3EFD34C1F8A}"/>
          </ac:spMkLst>
        </pc:spChg>
        <pc:picChg chg="mod">
          <ac:chgData name="Oliver Menebhi" userId="3f6a3078-7721-4311-a1c4-1afb0ef7523f" providerId="ADAL" clId="{B3663ACA-8A18-4DF6-BDE6-9803127C87C1}" dt="2025-07-16T07:10:56.671" v="658" actId="14100"/>
          <ac:picMkLst>
            <pc:docMk/>
            <pc:sldMk cId="3626355901" sldId="2147472751"/>
            <ac:picMk id="4098" creationId="{79A86D53-B2C7-1F7E-7AE0-F708869797BB}"/>
          </ac:picMkLst>
        </pc:picChg>
      </pc:sldChg>
      <pc:sldChg chg="modSp add">
        <pc:chgData name="Oliver Menebhi" userId="3f6a3078-7721-4311-a1c4-1afb0ef7523f" providerId="ADAL" clId="{B3663ACA-8A18-4DF6-BDE6-9803127C87C1}" dt="2025-07-16T07:14:56.941" v="927" actId="20577"/>
        <pc:sldMkLst>
          <pc:docMk/>
          <pc:sldMk cId="3287757105" sldId="2147472752"/>
        </pc:sldMkLst>
        <pc:spChg chg="mod">
          <ac:chgData name="Oliver Menebhi" userId="3f6a3078-7721-4311-a1c4-1afb0ef7523f" providerId="ADAL" clId="{B3663ACA-8A18-4DF6-BDE6-9803127C87C1}" dt="2025-07-16T07:14:06.900" v="860" actId="20577"/>
          <ac:spMkLst>
            <pc:docMk/>
            <pc:sldMk cId="3287757105" sldId="2147472752"/>
            <ac:spMk id="4" creationId="{EED4D053-4405-5A71-79A9-C1B53CBA528F}"/>
          </ac:spMkLst>
        </pc:spChg>
        <pc:spChg chg="mod">
          <ac:chgData name="Oliver Menebhi" userId="3f6a3078-7721-4311-a1c4-1afb0ef7523f" providerId="ADAL" clId="{B3663ACA-8A18-4DF6-BDE6-9803127C87C1}" dt="2025-07-16T07:14:56.941" v="927" actId="20577"/>
          <ac:spMkLst>
            <pc:docMk/>
            <pc:sldMk cId="3287757105" sldId="2147472752"/>
            <ac:spMk id="6" creationId="{806820C0-F5B4-8EFC-A4BD-C1D169BBB662}"/>
          </ac:spMkLst>
        </pc:spChg>
        <pc:spChg chg="mod">
          <ac:chgData name="Oliver Menebhi" userId="3f6a3078-7721-4311-a1c4-1afb0ef7523f" providerId="ADAL" clId="{B3663ACA-8A18-4DF6-BDE6-9803127C87C1}" dt="2025-07-16T07:13:47.480" v="818" actId="5793"/>
          <ac:spMkLst>
            <pc:docMk/>
            <pc:sldMk cId="3287757105" sldId="2147472752"/>
            <ac:spMk id="8" creationId="{1853B8B7-08D7-C9E3-2515-E3EFD34C1F8A}"/>
          </ac:spMkLst>
        </pc:spChg>
      </pc:sldChg>
      <pc:sldChg chg="add">
        <pc:chgData name="Oliver Menebhi" userId="3f6a3078-7721-4311-a1c4-1afb0ef7523f" providerId="ADAL" clId="{B3663ACA-8A18-4DF6-BDE6-9803127C87C1}" dt="2025-07-16T07:03:28.312" v="429"/>
        <pc:sldMkLst>
          <pc:docMk/>
          <pc:sldMk cId="2911848545" sldId="2147472829"/>
        </pc:sldMkLst>
      </pc:sldChg>
      <pc:sldChg chg="addSp delSp modSp add mod ord modAnim">
        <pc:chgData name="Oliver Menebhi" userId="3f6a3078-7721-4311-a1c4-1afb0ef7523f" providerId="ADAL" clId="{B3663ACA-8A18-4DF6-BDE6-9803127C87C1}" dt="2025-07-16T07:06:36.505" v="569" actId="207"/>
        <pc:sldMkLst>
          <pc:docMk/>
          <pc:sldMk cId="772722835" sldId="2147472830"/>
        </pc:sldMkLst>
        <pc:spChg chg="mod">
          <ac:chgData name="Oliver Menebhi" userId="3f6a3078-7721-4311-a1c4-1afb0ef7523f" providerId="ADAL" clId="{B3663ACA-8A18-4DF6-BDE6-9803127C87C1}" dt="2025-07-16T07:06:02.316" v="546" actId="20577"/>
          <ac:spMkLst>
            <pc:docMk/>
            <pc:sldMk cId="772722835" sldId="2147472830"/>
            <ac:spMk id="5" creationId="{1E9EFF62-F742-4B5B-B5DC-025A14176CAE}"/>
          </ac:spMkLst>
        </pc:spChg>
        <pc:spChg chg="mod">
          <ac:chgData name="Oliver Menebhi" userId="3f6a3078-7721-4311-a1c4-1afb0ef7523f" providerId="ADAL" clId="{B3663ACA-8A18-4DF6-BDE6-9803127C87C1}" dt="2025-07-16T07:06:11.635" v="565" actId="20577"/>
          <ac:spMkLst>
            <pc:docMk/>
            <pc:sldMk cId="772722835" sldId="2147472830"/>
            <ac:spMk id="6" creationId="{42CE96CB-690B-288B-5F21-FF2BE20CA4E2}"/>
          </ac:spMkLst>
        </pc:spChg>
        <pc:spChg chg="add mod">
          <ac:chgData name="Oliver Menebhi" userId="3f6a3078-7721-4311-a1c4-1afb0ef7523f" providerId="ADAL" clId="{B3663ACA-8A18-4DF6-BDE6-9803127C87C1}" dt="2025-07-16T07:06:30.135" v="568" actId="1076"/>
          <ac:spMkLst>
            <pc:docMk/>
            <pc:sldMk cId="772722835" sldId="2147472830"/>
            <ac:spMk id="10" creationId="{A8CDED81-79ED-DEAF-6A3E-BA00E01082BA}"/>
          </ac:spMkLst>
        </pc:spChg>
        <pc:spChg chg="add mod">
          <ac:chgData name="Oliver Menebhi" userId="3f6a3078-7721-4311-a1c4-1afb0ef7523f" providerId="ADAL" clId="{B3663ACA-8A18-4DF6-BDE6-9803127C87C1}" dt="2025-07-16T07:06:30.135" v="568" actId="1076"/>
          <ac:spMkLst>
            <pc:docMk/>
            <pc:sldMk cId="772722835" sldId="2147472830"/>
            <ac:spMk id="11" creationId="{210C1D48-1769-FF9C-EB17-13C6B8DE4411}"/>
          </ac:spMkLst>
        </pc:spChg>
        <pc:spChg chg="add mod">
          <ac:chgData name="Oliver Menebhi" userId="3f6a3078-7721-4311-a1c4-1afb0ef7523f" providerId="ADAL" clId="{B3663ACA-8A18-4DF6-BDE6-9803127C87C1}" dt="2025-07-16T07:06:30.135" v="568" actId="1076"/>
          <ac:spMkLst>
            <pc:docMk/>
            <pc:sldMk cId="772722835" sldId="2147472830"/>
            <ac:spMk id="12" creationId="{3DC4B6FE-E046-B9E0-C80B-268E078BADBB}"/>
          </ac:spMkLst>
        </pc:spChg>
        <pc:spChg chg="add mod">
          <ac:chgData name="Oliver Menebhi" userId="3f6a3078-7721-4311-a1c4-1afb0ef7523f" providerId="ADAL" clId="{B3663ACA-8A18-4DF6-BDE6-9803127C87C1}" dt="2025-07-16T07:06:30.135" v="568" actId="1076"/>
          <ac:spMkLst>
            <pc:docMk/>
            <pc:sldMk cId="772722835" sldId="2147472830"/>
            <ac:spMk id="13" creationId="{1A0434C9-2D37-8468-B87A-B264EE2D8D1E}"/>
          </ac:spMkLst>
        </pc:spChg>
        <pc:spChg chg="add mod">
          <ac:chgData name="Oliver Menebhi" userId="3f6a3078-7721-4311-a1c4-1afb0ef7523f" providerId="ADAL" clId="{B3663ACA-8A18-4DF6-BDE6-9803127C87C1}" dt="2025-07-16T07:06:36.505" v="569" actId="207"/>
          <ac:spMkLst>
            <pc:docMk/>
            <pc:sldMk cId="772722835" sldId="2147472830"/>
            <ac:spMk id="14" creationId="{F5703698-0FE8-EE48-1BAD-4B7D48EEFFBA}"/>
          </ac:spMkLst>
        </pc:spChg>
        <pc:spChg chg="add mod">
          <ac:chgData name="Oliver Menebhi" userId="3f6a3078-7721-4311-a1c4-1afb0ef7523f" providerId="ADAL" clId="{B3663ACA-8A18-4DF6-BDE6-9803127C87C1}" dt="2025-07-16T07:06:36.505" v="569" actId="207"/>
          <ac:spMkLst>
            <pc:docMk/>
            <pc:sldMk cId="772722835" sldId="2147472830"/>
            <ac:spMk id="15" creationId="{9F029866-B5D6-303F-62F5-4183DCAB312B}"/>
          </ac:spMkLst>
        </pc:spChg>
        <pc:spChg chg="add mod">
          <ac:chgData name="Oliver Menebhi" userId="3f6a3078-7721-4311-a1c4-1afb0ef7523f" providerId="ADAL" clId="{B3663ACA-8A18-4DF6-BDE6-9803127C87C1}" dt="2025-07-16T07:06:36.505" v="569" actId="207"/>
          <ac:spMkLst>
            <pc:docMk/>
            <pc:sldMk cId="772722835" sldId="2147472830"/>
            <ac:spMk id="16" creationId="{83F42EEA-63A7-67B0-6E2C-4E3E30C36812}"/>
          </ac:spMkLst>
        </pc:spChg>
        <pc:spChg chg="add mod">
          <ac:chgData name="Oliver Menebhi" userId="3f6a3078-7721-4311-a1c4-1afb0ef7523f" providerId="ADAL" clId="{B3663ACA-8A18-4DF6-BDE6-9803127C87C1}" dt="2025-07-16T07:06:36.505" v="569" actId="207"/>
          <ac:spMkLst>
            <pc:docMk/>
            <pc:sldMk cId="772722835" sldId="2147472830"/>
            <ac:spMk id="17" creationId="{B71DD7EC-7AC1-FC73-7B4E-9ABB2134E0F9}"/>
          </ac:spMkLst>
        </pc:spChg>
        <pc:spChg chg="add mod">
          <ac:chgData name="Oliver Menebhi" userId="3f6a3078-7721-4311-a1c4-1afb0ef7523f" providerId="ADAL" clId="{B3663ACA-8A18-4DF6-BDE6-9803127C87C1}" dt="2025-07-16T07:06:36.505" v="569" actId="207"/>
          <ac:spMkLst>
            <pc:docMk/>
            <pc:sldMk cId="772722835" sldId="2147472830"/>
            <ac:spMk id="18" creationId="{F07A2C28-90E7-FA37-FA02-24C69489CD93}"/>
          </ac:spMkLst>
        </pc:spChg>
        <pc:cxnChg chg="add mod">
          <ac:chgData name="Oliver Menebhi" userId="3f6a3078-7721-4311-a1c4-1afb0ef7523f" providerId="ADAL" clId="{B3663ACA-8A18-4DF6-BDE6-9803127C87C1}" dt="2025-07-16T07:06:30.135" v="568" actId="1076"/>
          <ac:cxnSpMkLst>
            <pc:docMk/>
            <pc:sldMk cId="772722835" sldId="2147472830"/>
            <ac:cxnSpMk id="9" creationId="{4C2BCB5C-133A-2469-6911-16000CB7B8EF}"/>
          </ac:cxnSpMkLst>
        </pc:cxnChg>
      </pc:sldChg>
      <pc:sldChg chg="addSp delSp modSp new mod modAnim">
        <pc:chgData name="Oliver Menebhi" userId="3f6a3078-7721-4311-a1c4-1afb0ef7523f" providerId="ADAL" clId="{B3663ACA-8A18-4DF6-BDE6-9803127C87C1}" dt="2025-07-16T07:09:25.712" v="638" actId="1076"/>
        <pc:sldMkLst>
          <pc:docMk/>
          <pc:sldMk cId="166854795" sldId="2147472831"/>
        </pc:sldMkLst>
        <pc:spChg chg="mod">
          <ac:chgData name="Oliver Menebhi" userId="3f6a3078-7721-4311-a1c4-1afb0ef7523f" providerId="ADAL" clId="{B3663ACA-8A18-4DF6-BDE6-9803127C87C1}" dt="2025-07-16T07:08:20.903" v="584" actId="20577"/>
          <ac:spMkLst>
            <pc:docMk/>
            <pc:sldMk cId="166854795" sldId="2147472831"/>
            <ac:spMk id="2" creationId="{AF5B7B9B-A0B8-21F5-D1DE-C2D1C72CEEC2}"/>
          </ac:spMkLst>
        </pc:spChg>
        <pc:spChg chg="mod">
          <ac:chgData name="Oliver Menebhi" userId="3f6a3078-7721-4311-a1c4-1afb0ef7523f" providerId="ADAL" clId="{B3663ACA-8A18-4DF6-BDE6-9803127C87C1}" dt="2025-07-16T07:08:27.186" v="604" actId="20577"/>
          <ac:spMkLst>
            <pc:docMk/>
            <pc:sldMk cId="166854795" sldId="2147472831"/>
            <ac:spMk id="5" creationId="{F0AE7C05-B1B1-F5F3-529B-E5DD1D3399C8}"/>
          </ac:spMkLst>
        </pc:spChg>
        <pc:spChg chg="add mod">
          <ac:chgData name="Oliver Menebhi" userId="3f6a3078-7721-4311-a1c4-1afb0ef7523f" providerId="ADAL" clId="{B3663ACA-8A18-4DF6-BDE6-9803127C87C1}" dt="2025-07-16T07:08:39.999" v="629" actId="20577"/>
          <ac:spMkLst>
            <pc:docMk/>
            <pc:sldMk cId="166854795" sldId="2147472831"/>
            <ac:spMk id="8" creationId="{6EB370CB-0451-0A59-128A-9027D2DEE875}"/>
          </ac:spMkLst>
        </pc:spChg>
        <pc:spChg chg="add mod">
          <ac:chgData name="Oliver Menebhi" userId="3f6a3078-7721-4311-a1c4-1afb0ef7523f" providerId="ADAL" clId="{B3663ACA-8A18-4DF6-BDE6-9803127C87C1}" dt="2025-07-16T07:08:57.680" v="633" actId="1076"/>
          <ac:spMkLst>
            <pc:docMk/>
            <pc:sldMk cId="166854795" sldId="2147472831"/>
            <ac:spMk id="9" creationId="{579F83CA-6185-9AE5-40DB-66CC16287EC5}"/>
          </ac:spMkLst>
        </pc:spChg>
        <pc:spChg chg="add mod">
          <ac:chgData name="Oliver Menebhi" userId="3f6a3078-7721-4311-a1c4-1afb0ef7523f" providerId="ADAL" clId="{B3663ACA-8A18-4DF6-BDE6-9803127C87C1}" dt="2025-07-16T07:09:25.712" v="638" actId="1076"/>
          <ac:spMkLst>
            <pc:docMk/>
            <pc:sldMk cId="166854795" sldId="2147472831"/>
            <ac:spMk id="10" creationId="{DE8B56CF-D88D-BF09-8DC6-0C3FCBB5EC6B}"/>
          </ac:spMkLst>
        </pc:spChg>
      </pc:sldChg>
      <pc:sldChg chg="modSp add mod">
        <pc:chgData name="Oliver Menebhi" userId="3f6a3078-7721-4311-a1c4-1afb0ef7523f" providerId="ADAL" clId="{B3663ACA-8A18-4DF6-BDE6-9803127C87C1}" dt="2025-07-16T07:10:12.578" v="655" actId="20577"/>
        <pc:sldMkLst>
          <pc:docMk/>
          <pc:sldMk cId="2431252933" sldId="2147475063"/>
        </pc:sldMkLst>
        <pc:spChg chg="mod">
          <ac:chgData name="Oliver Menebhi" userId="3f6a3078-7721-4311-a1c4-1afb0ef7523f" providerId="ADAL" clId="{B3663ACA-8A18-4DF6-BDE6-9803127C87C1}" dt="2025-07-16T07:10:12.578" v="655" actId="20577"/>
          <ac:spMkLst>
            <pc:docMk/>
            <pc:sldMk cId="2431252933" sldId="2147475063"/>
            <ac:spMk id="10" creationId="{B1430CE3-6ED5-E7F1-44E2-E1A079855EE6}"/>
          </ac:spMkLst>
        </pc:sp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E864D267-EE9A-D26D-3033-6E78240D5507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E990E51-8CEA-B3D8-A2E2-42E8085794E6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BDBBD5C-35DE-4B3F-B9B0-D59150655B24}" type="datetimeFigureOut">
              <a:rPr lang="en-US" smtClean="0"/>
              <a:t>21/08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27F44D1-A1EF-5DCA-0141-C6E8D20FBC95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32F37CC-B86F-A7E6-F5AC-F5CC67CBEEBC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C031485-EA3E-449A-BE99-4C9497343AC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7900202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A6159F2-39EE-404B-8ECA-F6AD25729979}" type="datetimeFigureOut">
              <a:rPr lang="en-US" smtClean="0"/>
              <a:t>21/08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2743200" cy="15430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2892829"/>
            <a:ext cx="5486400" cy="5108171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4700E15-219A-48FA-894E-29E5D5C5489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1486515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indent="0" algn="l" defTabSz="914400" rtl="0" eaLnBrk="1" latinLnBrk="0" hangingPunct="1">
      <a:spcAft>
        <a:spcPts val="300"/>
      </a:spcAft>
      <a:buFont typeface="Symbol" panose="05050102010706020507" pitchFamily="18" charset="2"/>
      <a:buNone/>
      <a:defRPr sz="1800" kern="1200">
        <a:solidFill>
          <a:schemeClr val="tx2"/>
        </a:solidFill>
        <a:latin typeface="+mn-lt"/>
        <a:ea typeface="+mn-ea"/>
        <a:cs typeface="+mn-cs"/>
      </a:defRPr>
    </a:lvl1pPr>
    <a:lvl2pPr marL="180000" indent="-180000" algn="l" defTabSz="914400" rtl="0" eaLnBrk="1" latinLnBrk="0" hangingPunct="1">
      <a:spcAft>
        <a:spcPts val="300"/>
      </a:spcAft>
      <a:buFont typeface="Symbol" panose="05050102010706020507" pitchFamily="18" charset="2"/>
      <a:buChar char="-"/>
      <a:defRPr sz="1800" kern="1200">
        <a:solidFill>
          <a:schemeClr val="tx2"/>
        </a:solidFill>
        <a:latin typeface="+mn-lt"/>
        <a:ea typeface="+mn-ea"/>
        <a:cs typeface="+mn-cs"/>
      </a:defRPr>
    </a:lvl2pPr>
    <a:lvl3pPr marL="360000" indent="-180000" algn="l" defTabSz="914400" rtl="0" eaLnBrk="1" latinLnBrk="0" hangingPunct="1">
      <a:spcAft>
        <a:spcPts val="300"/>
      </a:spcAft>
      <a:buFont typeface="Symbol" panose="05050102010706020507" pitchFamily="18" charset="2"/>
      <a:buChar char="-"/>
      <a:defRPr sz="1800" kern="1200">
        <a:solidFill>
          <a:schemeClr val="tx2"/>
        </a:solidFill>
        <a:latin typeface="+mn-lt"/>
        <a:ea typeface="+mn-ea"/>
        <a:cs typeface="+mn-cs"/>
      </a:defRPr>
    </a:lvl3pPr>
    <a:lvl4pPr marL="540000" indent="-180000" algn="l" defTabSz="914400" rtl="0" eaLnBrk="1" latinLnBrk="0" hangingPunct="1">
      <a:spcAft>
        <a:spcPts val="300"/>
      </a:spcAft>
      <a:buFont typeface="Symbol" panose="05050102010706020507" pitchFamily="18" charset="2"/>
      <a:buChar char="-"/>
      <a:defRPr sz="1800" kern="1200">
        <a:solidFill>
          <a:schemeClr val="tx2"/>
        </a:solidFill>
        <a:latin typeface="+mn-lt"/>
        <a:ea typeface="+mn-ea"/>
        <a:cs typeface="+mn-cs"/>
      </a:defRPr>
    </a:lvl4pPr>
    <a:lvl5pPr marL="720000" indent="-180000" algn="l" defTabSz="914400" rtl="0" eaLnBrk="1" latinLnBrk="0" hangingPunct="1">
      <a:spcAft>
        <a:spcPts val="300"/>
      </a:spcAft>
      <a:buFont typeface="Symbol" panose="05050102010706020507" pitchFamily="18" charset="2"/>
      <a:buChar char="-"/>
      <a:defRPr sz="1800" kern="1200">
        <a:solidFill>
          <a:schemeClr val="tx2"/>
        </a:solidFill>
        <a:latin typeface="+mn-lt"/>
        <a:ea typeface="+mn-ea"/>
        <a:cs typeface="+mn-cs"/>
      </a:defRPr>
    </a:lvl5pPr>
    <a:lvl6pPr marL="900000" indent="-180000" algn="l" defTabSz="914400" rtl="0" eaLnBrk="1" latinLnBrk="0" hangingPunct="1">
      <a:spcAft>
        <a:spcPts val="300"/>
      </a:spcAft>
      <a:buFont typeface="Symbol" panose="05050102010706020507" pitchFamily="18" charset="2"/>
      <a:buChar char="-"/>
      <a:defRPr sz="1800" kern="1200">
        <a:solidFill>
          <a:schemeClr val="tx2"/>
        </a:solidFill>
        <a:latin typeface="+mn-lt"/>
        <a:ea typeface="+mn-ea"/>
        <a:cs typeface="+mn-cs"/>
      </a:defRPr>
    </a:lvl6pPr>
    <a:lvl7pPr marL="1080000" indent="-180000" algn="l" defTabSz="914400" rtl="0" eaLnBrk="1" latinLnBrk="0" hangingPunct="1">
      <a:spcAft>
        <a:spcPts val="300"/>
      </a:spcAft>
      <a:buFont typeface="Symbol" panose="05050102010706020507" pitchFamily="18" charset="2"/>
      <a:buChar char="-"/>
      <a:defRPr sz="1800" kern="1200">
        <a:solidFill>
          <a:schemeClr val="tx2"/>
        </a:solidFill>
        <a:latin typeface="+mn-lt"/>
        <a:ea typeface="+mn-ea"/>
        <a:cs typeface="+mn-cs"/>
      </a:defRPr>
    </a:lvl7pPr>
    <a:lvl8pPr marL="1431450" indent="-171450" algn="l" defTabSz="914400" rtl="0" eaLnBrk="1" latinLnBrk="0" hangingPunct="1">
      <a:spcAft>
        <a:spcPts val="300"/>
      </a:spcAft>
      <a:buFont typeface="Symbol" panose="05050102010706020507" pitchFamily="18" charset="2"/>
      <a:buChar char="-"/>
      <a:defRPr sz="1800" kern="1200">
        <a:solidFill>
          <a:schemeClr val="tx2"/>
        </a:solidFill>
        <a:latin typeface="+mn-lt"/>
        <a:ea typeface="+mn-ea"/>
        <a:cs typeface="+mn-cs"/>
      </a:defRPr>
    </a:lvl8pPr>
    <a:lvl9pPr marL="1620000" indent="-180000" algn="l" defTabSz="914400" rtl="0" eaLnBrk="1" latinLnBrk="0" hangingPunct="1">
      <a:spcAft>
        <a:spcPts val="300"/>
      </a:spcAft>
      <a:buFont typeface="Symbol" panose="05050102010706020507" pitchFamily="18" charset="2"/>
      <a:buChar char="-"/>
      <a:defRPr sz="1800" kern="1200">
        <a:solidFill>
          <a:schemeClr val="tx2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ar-AE" b="1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1407E1D-667E-4DE2-825E-C6E39B92B9CC}" type="slidenum">
              <a:rPr kumimoji="0" lang="ar-A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ar-A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9031196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ar-AE" b="1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1407E1D-667E-4DE2-825E-C6E39B92B9CC}" type="slidenum">
              <a:rPr kumimoji="0" lang="ar-A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ar-A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4683403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ar-AE" b="1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1407E1D-667E-4DE2-825E-C6E39B92B9CC}" type="slidenum">
              <a:rPr kumimoji="0" lang="ar-A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ar-A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3907022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ar-AE" b="1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1407E1D-667E-4DE2-825E-C6E39B92B9CC}" type="slidenum">
              <a:rPr kumimoji="0" lang="ar-A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ar-A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9237190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ar-AE" b="1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1407E1D-667E-4DE2-825E-C6E39B92B9CC}" type="slidenum">
              <a:rPr kumimoji="0" lang="ar-A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ar-A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0027609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0685E0E-C08F-B825-36A5-DED56511657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2D7C113C-F116-AE51-4CD1-51B4CF00A35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C7D5B1F2-317D-8BB4-94C1-7B6BE559C3A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ar-AE" b="1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EAA6932-CFB9-4C6A-2A4A-355BDD70258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1407E1D-667E-4DE2-825E-C6E39B92B9CC}" type="slidenum">
              <a:rPr kumimoji="0" lang="ar-A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ar-A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4403312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ston Martin Flare" panose="020E0503040504020204" pitchFamily="34" charset="0"/>
                <a:ea typeface="+mn-ea"/>
                <a:cs typeface="Aston Martin Flare" panose="020E0503040504020204" pitchFamily="34" charset="0"/>
              </a:rPr>
              <a:t>KEY POINTS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GB" sz="12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ston Martin Flare" panose="020E0503040504020204" pitchFamily="34" charset="0"/>
                <a:ea typeface="+mn-ea"/>
                <a:cs typeface="Aston Martin Flare" panose="020E0503040504020204" pitchFamily="34" charset="0"/>
              </a:rPr>
              <a:t>The ideal outcome of negotiation is one where both parties feel like they have a good deal – the prospect of long a term-relationship and referrals is high.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GB" sz="12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ston Martin Flare" panose="020E0503040504020204" pitchFamily="34" charset="0"/>
                <a:ea typeface="+mn-ea"/>
                <a:cs typeface="Aston Martin Flare" panose="020E0503040504020204" pitchFamily="34" charset="0"/>
              </a:rPr>
              <a:t>In order to stop negotiation being solely about price, we should consider the ‘</a:t>
            </a:r>
            <a:r>
              <a:rPr kumimoji="0" lang="en-GB" sz="1200" b="1" i="0" u="none" strike="noStrike" kern="120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ston Martin Flare" panose="020E0503040504020204" pitchFamily="34" charset="0"/>
                <a:ea typeface="+mn-ea"/>
                <a:cs typeface="Aston Martin Flare" panose="020E0503040504020204" pitchFamily="34" charset="0"/>
              </a:rPr>
              <a:t>tradeables</a:t>
            </a:r>
            <a:r>
              <a:rPr kumimoji="0" lang="en-GB" sz="12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ston Martin Flare" panose="020E0503040504020204" pitchFamily="34" charset="0"/>
                <a:ea typeface="+mn-ea"/>
                <a:cs typeface="Aston Martin Flare" panose="020E0503040504020204" pitchFamily="34" charset="0"/>
              </a:rPr>
              <a:t>’ we and the customer have to offer.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GB" sz="12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ston Martin Flare" panose="020E0503040504020204" pitchFamily="34" charset="0"/>
                <a:ea typeface="+mn-ea"/>
                <a:cs typeface="Aston Martin Flare" panose="020E0503040504020204" pitchFamily="34" charset="0"/>
              </a:rPr>
              <a:t>In order to negotiate effectively you should be prepared with a strategy, have confidence, value yourself and the product and only enter negotiation after you have been through the process of needs based selling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1407E1D-667E-4DE2-825E-C6E39B92B9CC}" type="slidenum">
              <a:rPr kumimoji="0" lang="ar-A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ar-A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5351846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endParaRPr kumimoji="0" lang="en-GB" sz="12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ston Martin Flare" panose="020E0503040504020204" pitchFamily="34" charset="0"/>
              <a:ea typeface="+mn-ea"/>
              <a:cs typeface="Aston Martin Flare" panose="020E050304050402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1407E1D-667E-4DE2-825E-C6E39B92B9CC}" type="slidenum">
              <a:rPr kumimoji="0" lang="ar-A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ar-A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3828063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9.xml"/><Relationship Id="rId6" Type="http://schemas.openxmlformats.org/officeDocument/2006/relationships/image" Target="../media/image6.png"/><Relationship Id="rId5" Type="http://schemas.openxmlformats.org/officeDocument/2006/relationships/image" Target="../media/image5.jpeg"/><Relationship Id="rId4" Type="http://schemas.openxmlformats.org/officeDocument/2006/relationships/image" Target="../media/image4.emf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0.xml"/><Relationship Id="rId4" Type="http://schemas.openxmlformats.org/officeDocument/2006/relationships/image" Target="../media/image7.emf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1.xml"/><Relationship Id="rId5" Type="http://schemas.openxmlformats.org/officeDocument/2006/relationships/image" Target="../media/image8.png"/><Relationship Id="rId4" Type="http://schemas.openxmlformats.org/officeDocument/2006/relationships/image" Target="../media/image7.emf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2.xml"/><Relationship Id="rId4" Type="http://schemas.openxmlformats.org/officeDocument/2006/relationships/image" Target="../media/image7.emf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6" Type="http://schemas.openxmlformats.org/officeDocument/2006/relationships/image" Target="../media/image10.png"/><Relationship Id="rId5" Type="http://schemas.openxmlformats.org/officeDocument/2006/relationships/image" Target="../media/image9.emf"/><Relationship Id="rId4" Type="http://schemas.openxmlformats.org/officeDocument/2006/relationships/oleObject" Target="../embeddings/oleObject5.bin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6.xml"/><Relationship Id="rId1" Type="http://schemas.openxmlformats.org/officeDocument/2006/relationships/tags" Target="../tags/tag25.xml"/><Relationship Id="rId5" Type="http://schemas.openxmlformats.org/officeDocument/2006/relationships/image" Target="../media/image11.emf"/><Relationship Id="rId4" Type="http://schemas.openxmlformats.org/officeDocument/2006/relationships/oleObject" Target="../embeddings/oleObject6.bin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8.xml"/><Relationship Id="rId1" Type="http://schemas.openxmlformats.org/officeDocument/2006/relationships/tags" Target="../tags/tag27.xml"/><Relationship Id="rId6" Type="http://schemas.openxmlformats.org/officeDocument/2006/relationships/image" Target="../media/image10.png"/><Relationship Id="rId5" Type="http://schemas.openxmlformats.org/officeDocument/2006/relationships/image" Target="../media/image9.emf"/><Relationship Id="rId4" Type="http://schemas.openxmlformats.org/officeDocument/2006/relationships/oleObject" Target="../embeddings/oleObject7.bin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29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Page_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DF0B494-BA15-F2B4-DAD3-A3B2AF6C73B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39748" y="1875367"/>
            <a:ext cx="11112502" cy="1821921"/>
          </a:xfrm>
        </p:spPr>
        <p:txBody>
          <a:bodyPr anchor="b">
            <a:noAutofit/>
          </a:bodyPr>
          <a:lstStyle>
            <a:lvl1pPr algn="l">
              <a:defRPr sz="5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Please insert a Tit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8D95B62-3DC6-BA29-E15A-17D867C811E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39748" y="3970338"/>
            <a:ext cx="11112502" cy="942022"/>
          </a:xfrm>
        </p:spPr>
        <p:txBody>
          <a:bodyPr>
            <a:noAutofit/>
          </a:bodyPr>
          <a:lstStyle>
            <a:lvl1pPr marL="0" indent="0" algn="l">
              <a:buNone/>
              <a:defRPr lang="en-US" sz="2800" kern="120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 algn="l">
              <a:spcAft>
                <a:spcPts val="0"/>
              </a:spcAft>
              <a:buNone/>
              <a:defRPr lang="en-US" sz="2800" kern="120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2pPr>
            <a:lvl3pPr marL="0" indent="0" algn="l">
              <a:spcAft>
                <a:spcPts val="0"/>
              </a:spcAft>
              <a:buNone/>
              <a:defRPr lang="en-US" sz="2800" kern="120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3pPr>
            <a:lvl4pPr marL="0" indent="0" algn="l">
              <a:spcAft>
                <a:spcPts val="0"/>
              </a:spcAft>
              <a:buNone/>
              <a:defRPr lang="en-US" sz="2800" kern="120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4pPr>
            <a:lvl5pPr marL="0" indent="0" algn="l">
              <a:spcAft>
                <a:spcPts val="0"/>
              </a:spcAft>
              <a:buNone/>
              <a:defRPr lang="en-US" sz="2800" kern="120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  <a:lvl6pPr marL="0" indent="0" algn="l">
              <a:spcAft>
                <a:spcPts val="0"/>
              </a:spcAft>
              <a:buNone/>
              <a:defRPr lang="en-US" sz="2800" kern="120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6pPr>
            <a:lvl7pPr marL="0" indent="0" algn="l">
              <a:spcAft>
                <a:spcPts val="0"/>
              </a:spcAft>
              <a:buNone/>
              <a:defRPr lang="en-US" sz="2800" kern="120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7pPr>
            <a:lvl8pPr marL="0" indent="0" algn="l">
              <a:spcAft>
                <a:spcPts val="0"/>
              </a:spcAft>
              <a:buNone/>
              <a:defRPr lang="en-US" sz="2800" kern="120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8pPr>
            <a:lvl9pPr marL="0" indent="0" algn="l">
              <a:spcAft>
                <a:spcPts val="0"/>
              </a:spcAft>
              <a:buNone/>
              <a:defRPr lang="en-US" sz="2800" kern="1200" dirty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Division/Trading Entity Name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5F8D7363-2FCC-9FA4-5689-CD0AE7825CD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39749" y="5858230"/>
            <a:ext cx="5556251" cy="184666"/>
          </a:xfrm>
        </p:spPr>
        <p:txBody>
          <a:bodyPr anchor="b">
            <a:spAutoFit/>
          </a:bodyPr>
          <a:lstStyle>
            <a:lvl1pPr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Date</a:t>
            </a:r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C94A6121-889B-625F-300B-FA52A95E298E}"/>
              </a:ext>
            </a:extLst>
          </p:cNvPr>
          <p:cNvGrpSpPr/>
          <p:nvPr userDrawn="1"/>
        </p:nvGrpSpPr>
        <p:grpSpPr bwMode="black">
          <a:xfrm>
            <a:off x="538164" y="853208"/>
            <a:ext cx="3585838" cy="764057"/>
            <a:chOff x="538164" y="853208"/>
            <a:chExt cx="3585838" cy="764057"/>
          </a:xfrm>
          <a:solidFill>
            <a:schemeClr val="bg1"/>
          </a:solidFill>
        </p:grpSpPr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6F6D1DAD-05DF-9AD9-7E5E-DD88E78C0A43}"/>
                </a:ext>
              </a:extLst>
            </p:cNvPr>
            <p:cNvSpPr/>
            <p:nvPr/>
          </p:nvSpPr>
          <p:spPr bwMode="black">
            <a:xfrm>
              <a:off x="1630469" y="1071851"/>
              <a:ext cx="2493533" cy="436490"/>
            </a:xfrm>
            <a:custGeom>
              <a:avLst/>
              <a:gdLst>
                <a:gd name="connsiteX0" fmla="*/ 259606 w 1185143"/>
                <a:gd name="connsiteY0" fmla="*/ 138234 h 207458"/>
                <a:gd name="connsiteX1" fmla="*/ 311539 w 1185143"/>
                <a:gd name="connsiteY1" fmla="*/ 138234 h 207458"/>
                <a:gd name="connsiteX2" fmla="*/ 311539 w 1185143"/>
                <a:gd name="connsiteY2" fmla="*/ 103486 h 207458"/>
                <a:gd name="connsiteX3" fmla="*/ 259606 w 1185143"/>
                <a:gd name="connsiteY3" fmla="*/ 103486 h 207458"/>
                <a:gd name="connsiteX4" fmla="*/ 259606 w 1185143"/>
                <a:gd name="connsiteY4" fmla="*/ 138234 h 207458"/>
                <a:gd name="connsiteX5" fmla="*/ 787196 w 1185143"/>
                <a:gd name="connsiteY5" fmla="*/ 103756 h 207458"/>
                <a:gd name="connsiteX6" fmla="*/ 821943 w 1185143"/>
                <a:gd name="connsiteY6" fmla="*/ 103756 h 207458"/>
                <a:gd name="connsiteX7" fmla="*/ 821943 w 1185143"/>
                <a:gd name="connsiteY7" fmla="*/ 172981 h 207458"/>
                <a:gd name="connsiteX8" fmla="*/ 787196 w 1185143"/>
                <a:gd name="connsiteY8" fmla="*/ 172981 h 207458"/>
                <a:gd name="connsiteX9" fmla="*/ 787196 w 1185143"/>
                <a:gd name="connsiteY9" fmla="*/ 103756 h 207458"/>
                <a:gd name="connsiteX10" fmla="*/ 752718 w 1185143"/>
                <a:gd name="connsiteY10" fmla="*/ 69225 h 207458"/>
                <a:gd name="connsiteX11" fmla="*/ 735318 w 1185143"/>
                <a:gd name="connsiteY11" fmla="*/ 103756 h 207458"/>
                <a:gd name="connsiteX12" fmla="*/ 735318 w 1185143"/>
                <a:gd name="connsiteY12" fmla="*/ 172981 h 207458"/>
                <a:gd name="connsiteX13" fmla="*/ 752718 w 1185143"/>
                <a:gd name="connsiteY13" fmla="*/ 207458 h 207458"/>
                <a:gd name="connsiteX14" fmla="*/ 873821 w 1185143"/>
                <a:gd name="connsiteY14" fmla="*/ 207458 h 207458"/>
                <a:gd name="connsiteX15" fmla="*/ 873821 w 1185143"/>
                <a:gd name="connsiteY15" fmla="*/ 69225 h 207458"/>
                <a:gd name="connsiteX16" fmla="*/ 752718 w 1185143"/>
                <a:gd name="connsiteY16" fmla="*/ 69225 h 207458"/>
                <a:gd name="connsiteX17" fmla="*/ 977577 w 1185143"/>
                <a:gd name="connsiteY17" fmla="*/ 69225 h 207458"/>
                <a:gd name="connsiteX18" fmla="*/ 977577 w 1185143"/>
                <a:gd name="connsiteY18" fmla="*/ 207458 h 207458"/>
                <a:gd name="connsiteX19" fmla="*/ 1029455 w 1185143"/>
                <a:gd name="connsiteY19" fmla="*/ 207458 h 207458"/>
                <a:gd name="connsiteX20" fmla="*/ 1029455 w 1185143"/>
                <a:gd name="connsiteY20" fmla="*/ 103756 h 207458"/>
                <a:gd name="connsiteX21" fmla="*/ 1055394 w 1185143"/>
                <a:gd name="connsiteY21" fmla="*/ 103756 h 207458"/>
                <a:gd name="connsiteX22" fmla="*/ 1055394 w 1185143"/>
                <a:gd name="connsiteY22" fmla="*/ 207458 h 207458"/>
                <a:gd name="connsiteX23" fmla="*/ 1107273 w 1185143"/>
                <a:gd name="connsiteY23" fmla="*/ 207458 h 207458"/>
                <a:gd name="connsiteX24" fmla="*/ 1107273 w 1185143"/>
                <a:gd name="connsiteY24" fmla="*/ 103756 h 207458"/>
                <a:gd name="connsiteX25" fmla="*/ 1133266 w 1185143"/>
                <a:gd name="connsiteY25" fmla="*/ 103756 h 207458"/>
                <a:gd name="connsiteX26" fmla="*/ 1133266 w 1185143"/>
                <a:gd name="connsiteY26" fmla="*/ 207458 h 207458"/>
                <a:gd name="connsiteX27" fmla="*/ 1185144 w 1185143"/>
                <a:gd name="connsiteY27" fmla="*/ 207458 h 207458"/>
                <a:gd name="connsiteX28" fmla="*/ 1185144 w 1185143"/>
                <a:gd name="connsiteY28" fmla="*/ 103756 h 207458"/>
                <a:gd name="connsiteX29" fmla="*/ 1168013 w 1185143"/>
                <a:gd name="connsiteY29" fmla="*/ 69225 h 207458"/>
                <a:gd name="connsiteX30" fmla="*/ 977631 w 1185143"/>
                <a:gd name="connsiteY30" fmla="*/ 69225 h 207458"/>
                <a:gd name="connsiteX31" fmla="*/ 899760 w 1185143"/>
                <a:gd name="connsiteY31" fmla="*/ 207458 h 207458"/>
                <a:gd name="connsiteX32" fmla="*/ 951692 w 1185143"/>
                <a:gd name="connsiteY32" fmla="*/ 207458 h 207458"/>
                <a:gd name="connsiteX33" fmla="*/ 951692 w 1185143"/>
                <a:gd name="connsiteY33" fmla="*/ 69225 h 207458"/>
                <a:gd name="connsiteX34" fmla="*/ 899760 w 1185143"/>
                <a:gd name="connsiteY34" fmla="*/ 69009 h 207458"/>
                <a:gd name="connsiteX35" fmla="*/ 899760 w 1185143"/>
                <a:gd name="connsiteY35" fmla="*/ 207458 h 207458"/>
                <a:gd name="connsiteX36" fmla="*/ 112565 w 1185143"/>
                <a:gd name="connsiteY36" fmla="*/ 34477 h 207458"/>
                <a:gd name="connsiteX37" fmla="*/ 112565 w 1185143"/>
                <a:gd name="connsiteY37" fmla="*/ 103756 h 207458"/>
                <a:gd name="connsiteX38" fmla="*/ 86355 w 1185143"/>
                <a:gd name="connsiteY38" fmla="*/ 103756 h 207458"/>
                <a:gd name="connsiteX39" fmla="*/ 112565 w 1185143"/>
                <a:gd name="connsiteY39" fmla="*/ 34477 h 207458"/>
                <a:gd name="connsiteX40" fmla="*/ 69225 w 1185143"/>
                <a:gd name="connsiteY40" fmla="*/ 0 h 207458"/>
                <a:gd name="connsiteX41" fmla="*/ 0 w 1185143"/>
                <a:gd name="connsiteY41" fmla="*/ 207458 h 207458"/>
                <a:gd name="connsiteX42" fmla="*/ 51878 w 1185143"/>
                <a:gd name="connsiteY42" fmla="*/ 207458 h 207458"/>
                <a:gd name="connsiteX43" fmla="*/ 77817 w 1185143"/>
                <a:gd name="connsiteY43" fmla="*/ 138450 h 207458"/>
                <a:gd name="connsiteX44" fmla="*/ 112565 w 1185143"/>
                <a:gd name="connsiteY44" fmla="*/ 138450 h 207458"/>
                <a:gd name="connsiteX45" fmla="*/ 112565 w 1185143"/>
                <a:gd name="connsiteY45" fmla="*/ 207458 h 207458"/>
                <a:gd name="connsiteX46" fmla="*/ 164443 w 1185143"/>
                <a:gd name="connsiteY46" fmla="*/ 207458 h 207458"/>
                <a:gd name="connsiteX47" fmla="*/ 164443 w 1185143"/>
                <a:gd name="connsiteY47" fmla="*/ 0 h 207458"/>
                <a:gd name="connsiteX48" fmla="*/ 69225 w 1185143"/>
                <a:gd name="connsiteY48" fmla="*/ 0 h 207458"/>
                <a:gd name="connsiteX49" fmla="*/ 190328 w 1185143"/>
                <a:gd name="connsiteY49" fmla="*/ 207458 h 207458"/>
                <a:gd name="connsiteX50" fmla="*/ 242206 w 1185143"/>
                <a:gd name="connsiteY50" fmla="*/ 207458 h 207458"/>
                <a:gd name="connsiteX51" fmla="*/ 242206 w 1185143"/>
                <a:gd name="connsiteY51" fmla="*/ 0 h 207458"/>
                <a:gd name="connsiteX52" fmla="*/ 190328 w 1185143"/>
                <a:gd name="connsiteY52" fmla="*/ 0 h 207458"/>
                <a:gd name="connsiteX53" fmla="*/ 190328 w 1185143"/>
                <a:gd name="connsiteY53" fmla="*/ 207458 h 207458"/>
                <a:gd name="connsiteX54" fmla="*/ 328615 w 1185143"/>
                <a:gd name="connsiteY54" fmla="*/ 0 h 207458"/>
                <a:gd name="connsiteX55" fmla="*/ 328615 w 1185143"/>
                <a:gd name="connsiteY55" fmla="*/ 207458 h 207458"/>
                <a:gd name="connsiteX56" fmla="*/ 380493 w 1185143"/>
                <a:gd name="connsiteY56" fmla="*/ 207458 h 207458"/>
                <a:gd name="connsiteX57" fmla="*/ 380493 w 1185143"/>
                <a:gd name="connsiteY57" fmla="*/ 103756 h 207458"/>
                <a:gd name="connsiteX58" fmla="*/ 415295 w 1185143"/>
                <a:gd name="connsiteY58" fmla="*/ 103756 h 207458"/>
                <a:gd name="connsiteX59" fmla="*/ 415295 w 1185143"/>
                <a:gd name="connsiteY59" fmla="*/ 172981 h 207458"/>
                <a:gd name="connsiteX60" fmla="*/ 432641 w 1185143"/>
                <a:gd name="connsiteY60" fmla="*/ 207458 h 207458"/>
                <a:gd name="connsiteX61" fmla="*/ 553798 w 1185143"/>
                <a:gd name="connsiteY61" fmla="*/ 207458 h 207458"/>
                <a:gd name="connsiteX62" fmla="*/ 553798 w 1185143"/>
                <a:gd name="connsiteY62" fmla="*/ 103756 h 207458"/>
                <a:gd name="connsiteX63" fmla="*/ 579737 w 1185143"/>
                <a:gd name="connsiteY63" fmla="*/ 103756 h 207458"/>
                <a:gd name="connsiteX64" fmla="*/ 579737 w 1185143"/>
                <a:gd name="connsiteY64" fmla="*/ 207458 h 207458"/>
                <a:gd name="connsiteX65" fmla="*/ 631561 w 1185143"/>
                <a:gd name="connsiteY65" fmla="*/ 207458 h 207458"/>
                <a:gd name="connsiteX66" fmla="*/ 631561 w 1185143"/>
                <a:gd name="connsiteY66" fmla="*/ 103756 h 207458"/>
                <a:gd name="connsiteX67" fmla="*/ 657555 w 1185143"/>
                <a:gd name="connsiteY67" fmla="*/ 103756 h 207458"/>
                <a:gd name="connsiteX68" fmla="*/ 657555 w 1185143"/>
                <a:gd name="connsiteY68" fmla="*/ 207458 h 207458"/>
                <a:gd name="connsiteX69" fmla="*/ 709433 w 1185143"/>
                <a:gd name="connsiteY69" fmla="*/ 207458 h 207458"/>
                <a:gd name="connsiteX70" fmla="*/ 709433 w 1185143"/>
                <a:gd name="connsiteY70" fmla="*/ 103756 h 207458"/>
                <a:gd name="connsiteX71" fmla="*/ 735372 w 1185143"/>
                <a:gd name="connsiteY71" fmla="*/ 103756 h 207458"/>
                <a:gd name="connsiteX72" fmla="*/ 735372 w 1185143"/>
                <a:gd name="connsiteY72" fmla="*/ 69225 h 207458"/>
                <a:gd name="connsiteX73" fmla="*/ 709433 w 1185143"/>
                <a:gd name="connsiteY73" fmla="*/ 69225 h 207458"/>
                <a:gd name="connsiteX74" fmla="*/ 709433 w 1185143"/>
                <a:gd name="connsiteY74" fmla="*/ 34477 h 207458"/>
                <a:gd name="connsiteX75" fmla="*/ 657555 w 1185143"/>
                <a:gd name="connsiteY75" fmla="*/ 34477 h 207458"/>
                <a:gd name="connsiteX76" fmla="*/ 657555 w 1185143"/>
                <a:gd name="connsiteY76" fmla="*/ 69225 h 207458"/>
                <a:gd name="connsiteX77" fmla="*/ 631561 w 1185143"/>
                <a:gd name="connsiteY77" fmla="*/ 69225 h 207458"/>
                <a:gd name="connsiteX78" fmla="*/ 631561 w 1185143"/>
                <a:gd name="connsiteY78" fmla="*/ 34477 h 207458"/>
                <a:gd name="connsiteX79" fmla="*/ 579737 w 1185143"/>
                <a:gd name="connsiteY79" fmla="*/ 34477 h 207458"/>
                <a:gd name="connsiteX80" fmla="*/ 579737 w 1185143"/>
                <a:gd name="connsiteY80" fmla="*/ 69225 h 207458"/>
                <a:gd name="connsiteX81" fmla="*/ 501650 w 1185143"/>
                <a:gd name="connsiteY81" fmla="*/ 69225 h 207458"/>
                <a:gd name="connsiteX82" fmla="*/ 501650 w 1185143"/>
                <a:gd name="connsiteY82" fmla="*/ 172927 h 207458"/>
                <a:gd name="connsiteX83" fmla="*/ 467173 w 1185143"/>
                <a:gd name="connsiteY83" fmla="*/ 172927 h 207458"/>
                <a:gd name="connsiteX84" fmla="*/ 467173 w 1185143"/>
                <a:gd name="connsiteY84" fmla="*/ 69225 h 207458"/>
                <a:gd name="connsiteX85" fmla="*/ 380547 w 1185143"/>
                <a:gd name="connsiteY85" fmla="*/ 69225 h 207458"/>
                <a:gd name="connsiteX86" fmla="*/ 380547 w 1185143"/>
                <a:gd name="connsiteY86" fmla="*/ 34477 h 207458"/>
                <a:gd name="connsiteX87" fmla="*/ 467173 w 1185143"/>
                <a:gd name="connsiteY87" fmla="*/ 34477 h 207458"/>
                <a:gd name="connsiteX88" fmla="*/ 467173 w 1185143"/>
                <a:gd name="connsiteY88" fmla="*/ 0 h 207458"/>
                <a:gd name="connsiteX89" fmla="*/ 328669 w 1185143"/>
                <a:gd name="connsiteY89" fmla="*/ 0 h 207458"/>
                <a:gd name="connsiteX90" fmla="*/ 899760 w 1185143"/>
                <a:gd name="connsiteY90" fmla="*/ 34477 h 207458"/>
                <a:gd name="connsiteX91" fmla="*/ 951692 w 1185143"/>
                <a:gd name="connsiteY91" fmla="*/ 34477 h 207458"/>
                <a:gd name="connsiteX92" fmla="*/ 951692 w 1185143"/>
                <a:gd name="connsiteY92" fmla="*/ 0 h 207458"/>
                <a:gd name="connsiteX93" fmla="*/ 899760 w 1185143"/>
                <a:gd name="connsiteY93" fmla="*/ 0 h 207458"/>
                <a:gd name="connsiteX94" fmla="*/ 899760 w 1185143"/>
                <a:gd name="connsiteY94" fmla="*/ 34477 h 2074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</a:cxnLst>
              <a:rect l="l" t="t" r="r" b="b"/>
              <a:pathLst>
                <a:path w="1185143" h="207458">
                  <a:moveTo>
                    <a:pt x="259606" y="138234"/>
                  </a:moveTo>
                  <a:lnTo>
                    <a:pt x="311539" y="138234"/>
                  </a:lnTo>
                  <a:lnTo>
                    <a:pt x="311539" y="103486"/>
                  </a:lnTo>
                  <a:lnTo>
                    <a:pt x="259606" y="103486"/>
                  </a:lnTo>
                  <a:lnTo>
                    <a:pt x="259606" y="138234"/>
                  </a:lnTo>
                  <a:close/>
                  <a:moveTo>
                    <a:pt x="787196" y="103756"/>
                  </a:moveTo>
                  <a:lnTo>
                    <a:pt x="821943" y="103756"/>
                  </a:lnTo>
                  <a:lnTo>
                    <a:pt x="821943" y="172981"/>
                  </a:lnTo>
                  <a:lnTo>
                    <a:pt x="787196" y="172981"/>
                  </a:lnTo>
                  <a:lnTo>
                    <a:pt x="787196" y="103756"/>
                  </a:lnTo>
                  <a:close/>
                  <a:moveTo>
                    <a:pt x="752718" y="69225"/>
                  </a:moveTo>
                  <a:lnTo>
                    <a:pt x="735318" y="103756"/>
                  </a:lnTo>
                  <a:lnTo>
                    <a:pt x="735318" y="172981"/>
                  </a:lnTo>
                  <a:lnTo>
                    <a:pt x="752718" y="207458"/>
                  </a:lnTo>
                  <a:lnTo>
                    <a:pt x="873821" y="207458"/>
                  </a:lnTo>
                  <a:lnTo>
                    <a:pt x="873821" y="69225"/>
                  </a:lnTo>
                  <a:lnTo>
                    <a:pt x="752718" y="69225"/>
                  </a:lnTo>
                  <a:close/>
                  <a:moveTo>
                    <a:pt x="977577" y="69225"/>
                  </a:moveTo>
                  <a:lnTo>
                    <a:pt x="977577" y="207458"/>
                  </a:lnTo>
                  <a:lnTo>
                    <a:pt x="1029455" y="207458"/>
                  </a:lnTo>
                  <a:lnTo>
                    <a:pt x="1029455" y="103756"/>
                  </a:lnTo>
                  <a:lnTo>
                    <a:pt x="1055394" y="103756"/>
                  </a:lnTo>
                  <a:lnTo>
                    <a:pt x="1055394" y="207458"/>
                  </a:lnTo>
                  <a:lnTo>
                    <a:pt x="1107273" y="207458"/>
                  </a:lnTo>
                  <a:lnTo>
                    <a:pt x="1107273" y="103756"/>
                  </a:lnTo>
                  <a:lnTo>
                    <a:pt x="1133266" y="103756"/>
                  </a:lnTo>
                  <a:lnTo>
                    <a:pt x="1133266" y="207458"/>
                  </a:lnTo>
                  <a:lnTo>
                    <a:pt x="1185144" y="207458"/>
                  </a:lnTo>
                  <a:lnTo>
                    <a:pt x="1185144" y="103756"/>
                  </a:lnTo>
                  <a:lnTo>
                    <a:pt x="1168013" y="69225"/>
                  </a:lnTo>
                  <a:lnTo>
                    <a:pt x="977631" y="69225"/>
                  </a:lnTo>
                  <a:close/>
                  <a:moveTo>
                    <a:pt x="899760" y="207458"/>
                  </a:moveTo>
                  <a:lnTo>
                    <a:pt x="951692" y="207458"/>
                  </a:lnTo>
                  <a:lnTo>
                    <a:pt x="951692" y="69225"/>
                  </a:lnTo>
                  <a:lnTo>
                    <a:pt x="899760" y="69009"/>
                  </a:lnTo>
                  <a:lnTo>
                    <a:pt x="899760" y="207458"/>
                  </a:lnTo>
                  <a:close/>
                  <a:moveTo>
                    <a:pt x="112565" y="34477"/>
                  </a:moveTo>
                  <a:lnTo>
                    <a:pt x="112565" y="103756"/>
                  </a:lnTo>
                  <a:lnTo>
                    <a:pt x="86355" y="103756"/>
                  </a:lnTo>
                  <a:lnTo>
                    <a:pt x="112565" y="34477"/>
                  </a:lnTo>
                  <a:close/>
                  <a:moveTo>
                    <a:pt x="69225" y="0"/>
                  </a:moveTo>
                  <a:lnTo>
                    <a:pt x="0" y="207458"/>
                  </a:lnTo>
                  <a:lnTo>
                    <a:pt x="51878" y="207458"/>
                  </a:lnTo>
                  <a:lnTo>
                    <a:pt x="77817" y="138450"/>
                  </a:lnTo>
                  <a:lnTo>
                    <a:pt x="112565" y="138450"/>
                  </a:lnTo>
                  <a:lnTo>
                    <a:pt x="112565" y="207458"/>
                  </a:lnTo>
                  <a:lnTo>
                    <a:pt x="164443" y="207458"/>
                  </a:lnTo>
                  <a:lnTo>
                    <a:pt x="164443" y="0"/>
                  </a:lnTo>
                  <a:lnTo>
                    <a:pt x="69225" y="0"/>
                  </a:lnTo>
                  <a:close/>
                  <a:moveTo>
                    <a:pt x="190328" y="207458"/>
                  </a:moveTo>
                  <a:lnTo>
                    <a:pt x="242206" y="207458"/>
                  </a:lnTo>
                  <a:lnTo>
                    <a:pt x="242206" y="0"/>
                  </a:lnTo>
                  <a:lnTo>
                    <a:pt x="190328" y="0"/>
                  </a:lnTo>
                  <a:lnTo>
                    <a:pt x="190328" y="207458"/>
                  </a:lnTo>
                  <a:close/>
                  <a:moveTo>
                    <a:pt x="328615" y="0"/>
                  </a:moveTo>
                  <a:lnTo>
                    <a:pt x="328615" y="207458"/>
                  </a:lnTo>
                  <a:lnTo>
                    <a:pt x="380493" y="207458"/>
                  </a:lnTo>
                  <a:lnTo>
                    <a:pt x="380493" y="103756"/>
                  </a:lnTo>
                  <a:lnTo>
                    <a:pt x="415295" y="103756"/>
                  </a:lnTo>
                  <a:lnTo>
                    <a:pt x="415295" y="172981"/>
                  </a:lnTo>
                  <a:lnTo>
                    <a:pt x="432641" y="207458"/>
                  </a:lnTo>
                  <a:lnTo>
                    <a:pt x="553798" y="207458"/>
                  </a:lnTo>
                  <a:lnTo>
                    <a:pt x="553798" y="103756"/>
                  </a:lnTo>
                  <a:lnTo>
                    <a:pt x="579737" y="103756"/>
                  </a:lnTo>
                  <a:lnTo>
                    <a:pt x="579737" y="207458"/>
                  </a:lnTo>
                  <a:lnTo>
                    <a:pt x="631561" y="207458"/>
                  </a:lnTo>
                  <a:lnTo>
                    <a:pt x="631561" y="103756"/>
                  </a:lnTo>
                  <a:lnTo>
                    <a:pt x="657555" y="103756"/>
                  </a:lnTo>
                  <a:lnTo>
                    <a:pt x="657555" y="207458"/>
                  </a:lnTo>
                  <a:lnTo>
                    <a:pt x="709433" y="207458"/>
                  </a:lnTo>
                  <a:lnTo>
                    <a:pt x="709433" y="103756"/>
                  </a:lnTo>
                  <a:lnTo>
                    <a:pt x="735372" y="103756"/>
                  </a:lnTo>
                  <a:lnTo>
                    <a:pt x="735372" y="69225"/>
                  </a:lnTo>
                  <a:lnTo>
                    <a:pt x="709433" y="69225"/>
                  </a:lnTo>
                  <a:lnTo>
                    <a:pt x="709433" y="34477"/>
                  </a:lnTo>
                  <a:lnTo>
                    <a:pt x="657555" y="34477"/>
                  </a:lnTo>
                  <a:lnTo>
                    <a:pt x="657555" y="69225"/>
                  </a:lnTo>
                  <a:lnTo>
                    <a:pt x="631561" y="69225"/>
                  </a:lnTo>
                  <a:lnTo>
                    <a:pt x="631561" y="34477"/>
                  </a:lnTo>
                  <a:lnTo>
                    <a:pt x="579737" y="34477"/>
                  </a:lnTo>
                  <a:lnTo>
                    <a:pt x="579737" y="69225"/>
                  </a:lnTo>
                  <a:lnTo>
                    <a:pt x="501650" y="69225"/>
                  </a:lnTo>
                  <a:lnTo>
                    <a:pt x="501650" y="172927"/>
                  </a:lnTo>
                  <a:lnTo>
                    <a:pt x="467173" y="172927"/>
                  </a:lnTo>
                  <a:lnTo>
                    <a:pt x="467173" y="69225"/>
                  </a:lnTo>
                  <a:lnTo>
                    <a:pt x="380547" y="69225"/>
                  </a:lnTo>
                  <a:lnTo>
                    <a:pt x="380547" y="34477"/>
                  </a:lnTo>
                  <a:lnTo>
                    <a:pt x="467173" y="34477"/>
                  </a:lnTo>
                  <a:lnTo>
                    <a:pt x="467173" y="0"/>
                  </a:lnTo>
                  <a:lnTo>
                    <a:pt x="328669" y="0"/>
                  </a:lnTo>
                  <a:close/>
                  <a:moveTo>
                    <a:pt x="899760" y="34477"/>
                  </a:moveTo>
                  <a:lnTo>
                    <a:pt x="951692" y="34477"/>
                  </a:lnTo>
                  <a:lnTo>
                    <a:pt x="951692" y="0"/>
                  </a:lnTo>
                  <a:lnTo>
                    <a:pt x="899760" y="0"/>
                  </a:lnTo>
                  <a:lnTo>
                    <a:pt x="899760" y="34477"/>
                  </a:lnTo>
                  <a:close/>
                </a:path>
              </a:pathLst>
            </a:custGeom>
            <a:grpFill/>
            <a:ln w="538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23B3ADD2-B7B2-47A7-DF0B-4995540F41E0}"/>
                </a:ext>
              </a:extLst>
            </p:cNvPr>
            <p:cNvSpPr/>
            <p:nvPr/>
          </p:nvSpPr>
          <p:spPr bwMode="black">
            <a:xfrm>
              <a:off x="538164" y="853208"/>
              <a:ext cx="873889" cy="764057"/>
            </a:xfrm>
            <a:custGeom>
              <a:avLst/>
              <a:gdLst>
                <a:gd name="connsiteX0" fmla="*/ 156175 w 415348"/>
                <a:gd name="connsiteY0" fmla="*/ 155526 h 363146"/>
                <a:gd name="connsiteX1" fmla="*/ 207782 w 415348"/>
                <a:gd name="connsiteY1" fmla="*/ 103864 h 363146"/>
                <a:gd name="connsiteX2" fmla="*/ 259390 w 415348"/>
                <a:gd name="connsiteY2" fmla="*/ 155526 h 363146"/>
                <a:gd name="connsiteX3" fmla="*/ 207782 w 415348"/>
                <a:gd name="connsiteY3" fmla="*/ 207296 h 363146"/>
                <a:gd name="connsiteX4" fmla="*/ 156175 w 415348"/>
                <a:gd name="connsiteY4" fmla="*/ 155526 h 363146"/>
                <a:gd name="connsiteX5" fmla="*/ 207782 w 415348"/>
                <a:gd name="connsiteY5" fmla="*/ 0 h 363146"/>
                <a:gd name="connsiteX6" fmla="*/ 0 w 415348"/>
                <a:gd name="connsiteY6" fmla="*/ 207350 h 363146"/>
                <a:gd name="connsiteX7" fmla="*/ 51986 w 415348"/>
                <a:gd name="connsiteY7" fmla="*/ 259228 h 363146"/>
                <a:gd name="connsiteX8" fmla="*/ 104134 w 415348"/>
                <a:gd name="connsiteY8" fmla="*/ 207512 h 363146"/>
                <a:gd name="connsiteX9" fmla="*/ 155904 w 415348"/>
                <a:gd name="connsiteY9" fmla="*/ 259499 h 363146"/>
                <a:gd name="connsiteX10" fmla="*/ 103810 w 415348"/>
                <a:gd name="connsiteY10" fmla="*/ 311593 h 363146"/>
                <a:gd name="connsiteX11" fmla="*/ 155904 w 415348"/>
                <a:gd name="connsiteY11" fmla="*/ 363147 h 363146"/>
                <a:gd name="connsiteX12" fmla="*/ 206810 w 415348"/>
                <a:gd name="connsiteY12" fmla="*/ 311431 h 363146"/>
                <a:gd name="connsiteX13" fmla="*/ 259823 w 415348"/>
                <a:gd name="connsiteY13" fmla="*/ 363147 h 363146"/>
                <a:gd name="connsiteX14" fmla="*/ 311485 w 415348"/>
                <a:gd name="connsiteY14" fmla="*/ 311431 h 363146"/>
                <a:gd name="connsiteX15" fmla="*/ 259823 w 415348"/>
                <a:gd name="connsiteY15" fmla="*/ 259769 h 363146"/>
                <a:gd name="connsiteX16" fmla="*/ 312025 w 415348"/>
                <a:gd name="connsiteY16" fmla="*/ 207512 h 363146"/>
                <a:gd name="connsiteX17" fmla="*/ 363633 w 415348"/>
                <a:gd name="connsiteY17" fmla="*/ 259228 h 363146"/>
                <a:gd name="connsiteX18" fmla="*/ 415349 w 415348"/>
                <a:gd name="connsiteY18" fmla="*/ 207512 h 363146"/>
                <a:gd name="connsiteX19" fmla="*/ 207782 w 415348"/>
                <a:gd name="connsiteY19" fmla="*/ 0 h 3631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415348" h="363146">
                  <a:moveTo>
                    <a:pt x="156175" y="155526"/>
                  </a:moveTo>
                  <a:lnTo>
                    <a:pt x="207782" y="103864"/>
                  </a:lnTo>
                  <a:lnTo>
                    <a:pt x="259390" y="155526"/>
                  </a:lnTo>
                  <a:lnTo>
                    <a:pt x="207782" y="207296"/>
                  </a:lnTo>
                  <a:lnTo>
                    <a:pt x="156175" y="155526"/>
                  </a:lnTo>
                  <a:close/>
                  <a:moveTo>
                    <a:pt x="207782" y="0"/>
                  </a:moveTo>
                  <a:lnTo>
                    <a:pt x="0" y="207350"/>
                  </a:lnTo>
                  <a:lnTo>
                    <a:pt x="51986" y="259228"/>
                  </a:lnTo>
                  <a:lnTo>
                    <a:pt x="104134" y="207512"/>
                  </a:lnTo>
                  <a:lnTo>
                    <a:pt x="155904" y="259499"/>
                  </a:lnTo>
                  <a:lnTo>
                    <a:pt x="103810" y="311593"/>
                  </a:lnTo>
                  <a:lnTo>
                    <a:pt x="155904" y="363147"/>
                  </a:lnTo>
                  <a:lnTo>
                    <a:pt x="206810" y="311431"/>
                  </a:lnTo>
                  <a:lnTo>
                    <a:pt x="259823" y="363147"/>
                  </a:lnTo>
                  <a:lnTo>
                    <a:pt x="311485" y="311431"/>
                  </a:lnTo>
                  <a:lnTo>
                    <a:pt x="259823" y="259769"/>
                  </a:lnTo>
                  <a:lnTo>
                    <a:pt x="312025" y="207512"/>
                  </a:lnTo>
                  <a:lnTo>
                    <a:pt x="363633" y="259228"/>
                  </a:lnTo>
                  <a:lnTo>
                    <a:pt x="415349" y="207512"/>
                  </a:lnTo>
                  <a:lnTo>
                    <a:pt x="207782" y="0"/>
                  </a:lnTo>
                  <a:close/>
                </a:path>
              </a:pathLst>
            </a:custGeom>
            <a:solidFill>
              <a:schemeClr val="accent2"/>
            </a:solidFill>
            <a:ln w="538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1061433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98" userDrawn="1">
          <p15:clr>
            <a:srgbClr val="FBAE40"/>
          </p15:clr>
        </p15:guide>
        <p15:guide id="3" orient="horz" pos="2500" userDrawn="1">
          <p15:clr>
            <a:srgbClr val="FBAE40"/>
          </p15:clr>
        </p15:guide>
        <p15:guide id="4" orient="horz" pos="2329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_empty_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A597281-ABB7-066F-7A10-EF9E1776C1D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ease insert a Headlin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BABAA35-1304-A3EC-A9C3-854E14C4664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Al-Futtaim Template 2025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2D61B8B-D6CA-BCE6-71B4-5C8A439C247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3109594-1B45-46DB-8A0B-416F125317D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7B82DAD-1AFC-2023-BB91-5E7F5BD2C6D0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DE5BFCA1-3193-48B3-BF1A-E02DCE997C18}" type="datetime1">
              <a:rPr lang="en-US" smtClean="0"/>
              <a:t>21/08/2025</a:t>
            </a:fld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8B4C8F2A-2924-AB97-B224-E2E3A1F3CEA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39750" y="927799"/>
            <a:ext cx="9229725" cy="388937"/>
          </a:xfrm>
        </p:spPr>
        <p:txBody>
          <a:bodyPr>
            <a:noAutofit/>
          </a:bodyPr>
          <a:lstStyle>
            <a:lvl1pPr>
              <a:defRPr sz="28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Please insert a </a:t>
            </a:r>
            <a:r>
              <a:rPr lang="en-US" dirty="0" err="1"/>
              <a:t>Subheadlin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283085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 Slide_1 column_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A597281-ABB7-066F-7A10-EF9E1776C1D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Please insert a Headlin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BABAA35-1304-A3EC-A9C3-854E14C4664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Al-Futtaim Template 2025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2D61B8B-D6CA-BCE6-71B4-5C8A439C247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3109594-1B45-46DB-8A0B-416F125317D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7B82DAD-1AFC-2023-BB91-5E7F5BD2C6D0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979164C-DC6D-4267-A2A6-ADC09FD5713D}" type="datetime1">
              <a:rPr lang="en-US" smtClean="0"/>
              <a:t>21/08/2025</a:t>
            </a:fld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8B4C8F2A-2924-AB97-B224-E2E3A1F3CEA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39750" y="927799"/>
            <a:ext cx="9229725" cy="388937"/>
          </a:xfrm>
        </p:spPr>
        <p:txBody>
          <a:bodyPr>
            <a:noAutofit/>
          </a:bodyPr>
          <a:lstStyle>
            <a:lvl1pPr>
              <a:defRPr sz="28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Please insert a </a:t>
            </a:r>
            <a:r>
              <a:rPr lang="en-US" dirty="0" err="1"/>
              <a:t>Subheadline</a:t>
            </a:r>
            <a:endParaRPr lang="en-US" dirty="0"/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4206CEE7-7789-CB91-EF4D-3B100C9CE898}"/>
              </a:ext>
            </a:extLst>
          </p:cNvPr>
          <p:cNvGrpSpPr/>
          <p:nvPr userDrawn="1"/>
        </p:nvGrpSpPr>
        <p:grpSpPr bwMode="black">
          <a:xfrm>
            <a:off x="9951588" y="538699"/>
            <a:ext cx="1704301" cy="363146"/>
            <a:chOff x="9951588" y="538699"/>
            <a:chExt cx="1704301" cy="363146"/>
          </a:xfrm>
          <a:solidFill>
            <a:schemeClr val="bg1"/>
          </a:solidFill>
        </p:grpSpPr>
        <p:sp>
          <p:nvSpPr>
            <p:cNvPr id="8" name="Freeform: Shape 7">
              <a:extLst>
                <a:ext uri="{FF2B5EF4-FFF2-40B4-BE49-F238E27FC236}">
                  <a16:creationId xmlns:a16="http://schemas.microsoft.com/office/drawing/2014/main" id="{0E5AA8AB-2619-D1A1-94A8-5450D8107697}"/>
                </a:ext>
              </a:extLst>
            </p:cNvPr>
            <p:cNvSpPr/>
            <p:nvPr/>
          </p:nvSpPr>
          <p:spPr bwMode="black">
            <a:xfrm>
              <a:off x="10470746" y="642617"/>
              <a:ext cx="1185143" cy="207458"/>
            </a:xfrm>
            <a:custGeom>
              <a:avLst/>
              <a:gdLst>
                <a:gd name="connsiteX0" fmla="*/ 259606 w 1185143"/>
                <a:gd name="connsiteY0" fmla="*/ 138234 h 207458"/>
                <a:gd name="connsiteX1" fmla="*/ 311539 w 1185143"/>
                <a:gd name="connsiteY1" fmla="*/ 138234 h 207458"/>
                <a:gd name="connsiteX2" fmla="*/ 311539 w 1185143"/>
                <a:gd name="connsiteY2" fmla="*/ 103486 h 207458"/>
                <a:gd name="connsiteX3" fmla="*/ 259606 w 1185143"/>
                <a:gd name="connsiteY3" fmla="*/ 103486 h 207458"/>
                <a:gd name="connsiteX4" fmla="*/ 259606 w 1185143"/>
                <a:gd name="connsiteY4" fmla="*/ 138234 h 207458"/>
                <a:gd name="connsiteX5" fmla="*/ 787196 w 1185143"/>
                <a:gd name="connsiteY5" fmla="*/ 103756 h 207458"/>
                <a:gd name="connsiteX6" fmla="*/ 821943 w 1185143"/>
                <a:gd name="connsiteY6" fmla="*/ 103756 h 207458"/>
                <a:gd name="connsiteX7" fmla="*/ 821943 w 1185143"/>
                <a:gd name="connsiteY7" fmla="*/ 172981 h 207458"/>
                <a:gd name="connsiteX8" fmla="*/ 787196 w 1185143"/>
                <a:gd name="connsiteY8" fmla="*/ 172981 h 207458"/>
                <a:gd name="connsiteX9" fmla="*/ 787196 w 1185143"/>
                <a:gd name="connsiteY9" fmla="*/ 103756 h 207458"/>
                <a:gd name="connsiteX10" fmla="*/ 752718 w 1185143"/>
                <a:gd name="connsiteY10" fmla="*/ 69225 h 207458"/>
                <a:gd name="connsiteX11" fmla="*/ 735318 w 1185143"/>
                <a:gd name="connsiteY11" fmla="*/ 103756 h 207458"/>
                <a:gd name="connsiteX12" fmla="*/ 735318 w 1185143"/>
                <a:gd name="connsiteY12" fmla="*/ 172981 h 207458"/>
                <a:gd name="connsiteX13" fmla="*/ 752718 w 1185143"/>
                <a:gd name="connsiteY13" fmla="*/ 207458 h 207458"/>
                <a:gd name="connsiteX14" fmla="*/ 873821 w 1185143"/>
                <a:gd name="connsiteY14" fmla="*/ 207458 h 207458"/>
                <a:gd name="connsiteX15" fmla="*/ 873821 w 1185143"/>
                <a:gd name="connsiteY15" fmla="*/ 69225 h 207458"/>
                <a:gd name="connsiteX16" fmla="*/ 752718 w 1185143"/>
                <a:gd name="connsiteY16" fmla="*/ 69225 h 207458"/>
                <a:gd name="connsiteX17" fmla="*/ 977577 w 1185143"/>
                <a:gd name="connsiteY17" fmla="*/ 69225 h 207458"/>
                <a:gd name="connsiteX18" fmla="*/ 977577 w 1185143"/>
                <a:gd name="connsiteY18" fmla="*/ 207458 h 207458"/>
                <a:gd name="connsiteX19" fmla="*/ 1029455 w 1185143"/>
                <a:gd name="connsiteY19" fmla="*/ 207458 h 207458"/>
                <a:gd name="connsiteX20" fmla="*/ 1029455 w 1185143"/>
                <a:gd name="connsiteY20" fmla="*/ 103756 h 207458"/>
                <a:gd name="connsiteX21" fmla="*/ 1055394 w 1185143"/>
                <a:gd name="connsiteY21" fmla="*/ 103756 h 207458"/>
                <a:gd name="connsiteX22" fmla="*/ 1055394 w 1185143"/>
                <a:gd name="connsiteY22" fmla="*/ 207458 h 207458"/>
                <a:gd name="connsiteX23" fmla="*/ 1107273 w 1185143"/>
                <a:gd name="connsiteY23" fmla="*/ 207458 h 207458"/>
                <a:gd name="connsiteX24" fmla="*/ 1107273 w 1185143"/>
                <a:gd name="connsiteY24" fmla="*/ 103756 h 207458"/>
                <a:gd name="connsiteX25" fmla="*/ 1133266 w 1185143"/>
                <a:gd name="connsiteY25" fmla="*/ 103756 h 207458"/>
                <a:gd name="connsiteX26" fmla="*/ 1133266 w 1185143"/>
                <a:gd name="connsiteY26" fmla="*/ 207458 h 207458"/>
                <a:gd name="connsiteX27" fmla="*/ 1185144 w 1185143"/>
                <a:gd name="connsiteY27" fmla="*/ 207458 h 207458"/>
                <a:gd name="connsiteX28" fmla="*/ 1185144 w 1185143"/>
                <a:gd name="connsiteY28" fmla="*/ 103756 h 207458"/>
                <a:gd name="connsiteX29" fmla="*/ 1168013 w 1185143"/>
                <a:gd name="connsiteY29" fmla="*/ 69225 h 207458"/>
                <a:gd name="connsiteX30" fmla="*/ 977631 w 1185143"/>
                <a:gd name="connsiteY30" fmla="*/ 69225 h 207458"/>
                <a:gd name="connsiteX31" fmla="*/ 899760 w 1185143"/>
                <a:gd name="connsiteY31" fmla="*/ 207458 h 207458"/>
                <a:gd name="connsiteX32" fmla="*/ 951692 w 1185143"/>
                <a:gd name="connsiteY32" fmla="*/ 207458 h 207458"/>
                <a:gd name="connsiteX33" fmla="*/ 951692 w 1185143"/>
                <a:gd name="connsiteY33" fmla="*/ 69225 h 207458"/>
                <a:gd name="connsiteX34" fmla="*/ 899760 w 1185143"/>
                <a:gd name="connsiteY34" fmla="*/ 69009 h 207458"/>
                <a:gd name="connsiteX35" fmla="*/ 899760 w 1185143"/>
                <a:gd name="connsiteY35" fmla="*/ 207458 h 207458"/>
                <a:gd name="connsiteX36" fmla="*/ 112565 w 1185143"/>
                <a:gd name="connsiteY36" fmla="*/ 34477 h 207458"/>
                <a:gd name="connsiteX37" fmla="*/ 112565 w 1185143"/>
                <a:gd name="connsiteY37" fmla="*/ 103756 h 207458"/>
                <a:gd name="connsiteX38" fmla="*/ 86355 w 1185143"/>
                <a:gd name="connsiteY38" fmla="*/ 103756 h 207458"/>
                <a:gd name="connsiteX39" fmla="*/ 112565 w 1185143"/>
                <a:gd name="connsiteY39" fmla="*/ 34477 h 207458"/>
                <a:gd name="connsiteX40" fmla="*/ 69225 w 1185143"/>
                <a:gd name="connsiteY40" fmla="*/ 0 h 207458"/>
                <a:gd name="connsiteX41" fmla="*/ 0 w 1185143"/>
                <a:gd name="connsiteY41" fmla="*/ 207458 h 207458"/>
                <a:gd name="connsiteX42" fmla="*/ 51878 w 1185143"/>
                <a:gd name="connsiteY42" fmla="*/ 207458 h 207458"/>
                <a:gd name="connsiteX43" fmla="*/ 77817 w 1185143"/>
                <a:gd name="connsiteY43" fmla="*/ 138450 h 207458"/>
                <a:gd name="connsiteX44" fmla="*/ 112565 w 1185143"/>
                <a:gd name="connsiteY44" fmla="*/ 138450 h 207458"/>
                <a:gd name="connsiteX45" fmla="*/ 112565 w 1185143"/>
                <a:gd name="connsiteY45" fmla="*/ 207458 h 207458"/>
                <a:gd name="connsiteX46" fmla="*/ 164443 w 1185143"/>
                <a:gd name="connsiteY46" fmla="*/ 207458 h 207458"/>
                <a:gd name="connsiteX47" fmla="*/ 164443 w 1185143"/>
                <a:gd name="connsiteY47" fmla="*/ 0 h 207458"/>
                <a:gd name="connsiteX48" fmla="*/ 69225 w 1185143"/>
                <a:gd name="connsiteY48" fmla="*/ 0 h 207458"/>
                <a:gd name="connsiteX49" fmla="*/ 190328 w 1185143"/>
                <a:gd name="connsiteY49" fmla="*/ 207458 h 207458"/>
                <a:gd name="connsiteX50" fmla="*/ 242206 w 1185143"/>
                <a:gd name="connsiteY50" fmla="*/ 207458 h 207458"/>
                <a:gd name="connsiteX51" fmla="*/ 242206 w 1185143"/>
                <a:gd name="connsiteY51" fmla="*/ 0 h 207458"/>
                <a:gd name="connsiteX52" fmla="*/ 190328 w 1185143"/>
                <a:gd name="connsiteY52" fmla="*/ 0 h 207458"/>
                <a:gd name="connsiteX53" fmla="*/ 190328 w 1185143"/>
                <a:gd name="connsiteY53" fmla="*/ 207458 h 207458"/>
                <a:gd name="connsiteX54" fmla="*/ 328615 w 1185143"/>
                <a:gd name="connsiteY54" fmla="*/ 0 h 207458"/>
                <a:gd name="connsiteX55" fmla="*/ 328615 w 1185143"/>
                <a:gd name="connsiteY55" fmla="*/ 207458 h 207458"/>
                <a:gd name="connsiteX56" fmla="*/ 380493 w 1185143"/>
                <a:gd name="connsiteY56" fmla="*/ 207458 h 207458"/>
                <a:gd name="connsiteX57" fmla="*/ 380493 w 1185143"/>
                <a:gd name="connsiteY57" fmla="*/ 103756 h 207458"/>
                <a:gd name="connsiteX58" fmla="*/ 415295 w 1185143"/>
                <a:gd name="connsiteY58" fmla="*/ 103756 h 207458"/>
                <a:gd name="connsiteX59" fmla="*/ 415295 w 1185143"/>
                <a:gd name="connsiteY59" fmla="*/ 172981 h 207458"/>
                <a:gd name="connsiteX60" fmla="*/ 432641 w 1185143"/>
                <a:gd name="connsiteY60" fmla="*/ 207458 h 207458"/>
                <a:gd name="connsiteX61" fmla="*/ 553798 w 1185143"/>
                <a:gd name="connsiteY61" fmla="*/ 207458 h 207458"/>
                <a:gd name="connsiteX62" fmla="*/ 553798 w 1185143"/>
                <a:gd name="connsiteY62" fmla="*/ 103756 h 207458"/>
                <a:gd name="connsiteX63" fmla="*/ 579737 w 1185143"/>
                <a:gd name="connsiteY63" fmla="*/ 103756 h 207458"/>
                <a:gd name="connsiteX64" fmla="*/ 579737 w 1185143"/>
                <a:gd name="connsiteY64" fmla="*/ 207458 h 207458"/>
                <a:gd name="connsiteX65" fmla="*/ 631561 w 1185143"/>
                <a:gd name="connsiteY65" fmla="*/ 207458 h 207458"/>
                <a:gd name="connsiteX66" fmla="*/ 631561 w 1185143"/>
                <a:gd name="connsiteY66" fmla="*/ 103756 h 207458"/>
                <a:gd name="connsiteX67" fmla="*/ 657555 w 1185143"/>
                <a:gd name="connsiteY67" fmla="*/ 103756 h 207458"/>
                <a:gd name="connsiteX68" fmla="*/ 657555 w 1185143"/>
                <a:gd name="connsiteY68" fmla="*/ 207458 h 207458"/>
                <a:gd name="connsiteX69" fmla="*/ 709433 w 1185143"/>
                <a:gd name="connsiteY69" fmla="*/ 207458 h 207458"/>
                <a:gd name="connsiteX70" fmla="*/ 709433 w 1185143"/>
                <a:gd name="connsiteY70" fmla="*/ 103756 h 207458"/>
                <a:gd name="connsiteX71" fmla="*/ 735372 w 1185143"/>
                <a:gd name="connsiteY71" fmla="*/ 103756 h 207458"/>
                <a:gd name="connsiteX72" fmla="*/ 735372 w 1185143"/>
                <a:gd name="connsiteY72" fmla="*/ 69225 h 207458"/>
                <a:gd name="connsiteX73" fmla="*/ 709433 w 1185143"/>
                <a:gd name="connsiteY73" fmla="*/ 69225 h 207458"/>
                <a:gd name="connsiteX74" fmla="*/ 709433 w 1185143"/>
                <a:gd name="connsiteY74" fmla="*/ 34477 h 207458"/>
                <a:gd name="connsiteX75" fmla="*/ 657555 w 1185143"/>
                <a:gd name="connsiteY75" fmla="*/ 34477 h 207458"/>
                <a:gd name="connsiteX76" fmla="*/ 657555 w 1185143"/>
                <a:gd name="connsiteY76" fmla="*/ 69225 h 207458"/>
                <a:gd name="connsiteX77" fmla="*/ 631561 w 1185143"/>
                <a:gd name="connsiteY77" fmla="*/ 69225 h 207458"/>
                <a:gd name="connsiteX78" fmla="*/ 631561 w 1185143"/>
                <a:gd name="connsiteY78" fmla="*/ 34477 h 207458"/>
                <a:gd name="connsiteX79" fmla="*/ 579737 w 1185143"/>
                <a:gd name="connsiteY79" fmla="*/ 34477 h 207458"/>
                <a:gd name="connsiteX80" fmla="*/ 579737 w 1185143"/>
                <a:gd name="connsiteY80" fmla="*/ 69225 h 207458"/>
                <a:gd name="connsiteX81" fmla="*/ 501650 w 1185143"/>
                <a:gd name="connsiteY81" fmla="*/ 69225 h 207458"/>
                <a:gd name="connsiteX82" fmla="*/ 501650 w 1185143"/>
                <a:gd name="connsiteY82" fmla="*/ 172927 h 207458"/>
                <a:gd name="connsiteX83" fmla="*/ 467173 w 1185143"/>
                <a:gd name="connsiteY83" fmla="*/ 172927 h 207458"/>
                <a:gd name="connsiteX84" fmla="*/ 467173 w 1185143"/>
                <a:gd name="connsiteY84" fmla="*/ 69225 h 207458"/>
                <a:gd name="connsiteX85" fmla="*/ 380547 w 1185143"/>
                <a:gd name="connsiteY85" fmla="*/ 69225 h 207458"/>
                <a:gd name="connsiteX86" fmla="*/ 380547 w 1185143"/>
                <a:gd name="connsiteY86" fmla="*/ 34477 h 207458"/>
                <a:gd name="connsiteX87" fmla="*/ 467173 w 1185143"/>
                <a:gd name="connsiteY87" fmla="*/ 34477 h 207458"/>
                <a:gd name="connsiteX88" fmla="*/ 467173 w 1185143"/>
                <a:gd name="connsiteY88" fmla="*/ 0 h 207458"/>
                <a:gd name="connsiteX89" fmla="*/ 328669 w 1185143"/>
                <a:gd name="connsiteY89" fmla="*/ 0 h 207458"/>
                <a:gd name="connsiteX90" fmla="*/ 899760 w 1185143"/>
                <a:gd name="connsiteY90" fmla="*/ 34477 h 207458"/>
                <a:gd name="connsiteX91" fmla="*/ 951692 w 1185143"/>
                <a:gd name="connsiteY91" fmla="*/ 34477 h 207458"/>
                <a:gd name="connsiteX92" fmla="*/ 951692 w 1185143"/>
                <a:gd name="connsiteY92" fmla="*/ 0 h 207458"/>
                <a:gd name="connsiteX93" fmla="*/ 899760 w 1185143"/>
                <a:gd name="connsiteY93" fmla="*/ 0 h 207458"/>
                <a:gd name="connsiteX94" fmla="*/ 899760 w 1185143"/>
                <a:gd name="connsiteY94" fmla="*/ 34477 h 2074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</a:cxnLst>
              <a:rect l="l" t="t" r="r" b="b"/>
              <a:pathLst>
                <a:path w="1185143" h="207458">
                  <a:moveTo>
                    <a:pt x="259606" y="138234"/>
                  </a:moveTo>
                  <a:lnTo>
                    <a:pt x="311539" y="138234"/>
                  </a:lnTo>
                  <a:lnTo>
                    <a:pt x="311539" y="103486"/>
                  </a:lnTo>
                  <a:lnTo>
                    <a:pt x="259606" y="103486"/>
                  </a:lnTo>
                  <a:lnTo>
                    <a:pt x="259606" y="138234"/>
                  </a:lnTo>
                  <a:close/>
                  <a:moveTo>
                    <a:pt x="787196" y="103756"/>
                  </a:moveTo>
                  <a:lnTo>
                    <a:pt x="821943" y="103756"/>
                  </a:lnTo>
                  <a:lnTo>
                    <a:pt x="821943" y="172981"/>
                  </a:lnTo>
                  <a:lnTo>
                    <a:pt x="787196" y="172981"/>
                  </a:lnTo>
                  <a:lnTo>
                    <a:pt x="787196" y="103756"/>
                  </a:lnTo>
                  <a:close/>
                  <a:moveTo>
                    <a:pt x="752718" y="69225"/>
                  </a:moveTo>
                  <a:lnTo>
                    <a:pt x="735318" y="103756"/>
                  </a:lnTo>
                  <a:lnTo>
                    <a:pt x="735318" y="172981"/>
                  </a:lnTo>
                  <a:lnTo>
                    <a:pt x="752718" y="207458"/>
                  </a:lnTo>
                  <a:lnTo>
                    <a:pt x="873821" y="207458"/>
                  </a:lnTo>
                  <a:lnTo>
                    <a:pt x="873821" y="69225"/>
                  </a:lnTo>
                  <a:lnTo>
                    <a:pt x="752718" y="69225"/>
                  </a:lnTo>
                  <a:close/>
                  <a:moveTo>
                    <a:pt x="977577" y="69225"/>
                  </a:moveTo>
                  <a:lnTo>
                    <a:pt x="977577" y="207458"/>
                  </a:lnTo>
                  <a:lnTo>
                    <a:pt x="1029455" y="207458"/>
                  </a:lnTo>
                  <a:lnTo>
                    <a:pt x="1029455" y="103756"/>
                  </a:lnTo>
                  <a:lnTo>
                    <a:pt x="1055394" y="103756"/>
                  </a:lnTo>
                  <a:lnTo>
                    <a:pt x="1055394" y="207458"/>
                  </a:lnTo>
                  <a:lnTo>
                    <a:pt x="1107273" y="207458"/>
                  </a:lnTo>
                  <a:lnTo>
                    <a:pt x="1107273" y="103756"/>
                  </a:lnTo>
                  <a:lnTo>
                    <a:pt x="1133266" y="103756"/>
                  </a:lnTo>
                  <a:lnTo>
                    <a:pt x="1133266" y="207458"/>
                  </a:lnTo>
                  <a:lnTo>
                    <a:pt x="1185144" y="207458"/>
                  </a:lnTo>
                  <a:lnTo>
                    <a:pt x="1185144" y="103756"/>
                  </a:lnTo>
                  <a:lnTo>
                    <a:pt x="1168013" y="69225"/>
                  </a:lnTo>
                  <a:lnTo>
                    <a:pt x="977631" y="69225"/>
                  </a:lnTo>
                  <a:close/>
                  <a:moveTo>
                    <a:pt x="899760" y="207458"/>
                  </a:moveTo>
                  <a:lnTo>
                    <a:pt x="951692" y="207458"/>
                  </a:lnTo>
                  <a:lnTo>
                    <a:pt x="951692" y="69225"/>
                  </a:lnTo>
                  <a:lnTo>
                    <a:pt x="899760" y="69009"/>
                  </a:lnTo>
                  <a:lnTo>
                    <a:pt x="899760" y="207458"/>
                  </a:lnTo>
                  <a:close/>
                  <a:moveTo>
                    <a:pt x="112565" y="34477"/>
                  </a:moveTo>
                  <a:lnTo>
                    <a:pt x="112565" y="103756"/>
                  </a:lnTo>
                  <a:lnTo>
                    <a:pt x="86355" y="103756"/>
                  </a:lnTo>
                  <a:lnTo>
                    <a:pt x="112565" y="34477"/>
                  </a:lnTo>
                  <a:close/>
                  <a:moveTo>
                    <a:pt x="69225" y="0"/>
                  </a:moveTo>
                  <a:lnTo>
                    <a:pt x="0" y="207458"/>
                  </a:lnTo>
                  <a:lnTo>
                    <a:pt x="51878" y="207458"/>
                  </a:lnTo>
                  <a:lnTo>
                    <a:pt x="77817" y="138450"/>
                  </a:lnTo>
                  <a:lnTo>
                    <a:pt x="112565" y="138450"/>
                  </a:lnTo>
                  <a:lnTo>
                    <a:pt x="112565" y="207458"/>
                  </a:lnTo>
                  <a:lnTo>
                    <a:pt x="164443" y="207458"/>
                  </a:lnTo>
                  <a:lnTo>
                    <a:pt x="164443" y="0"/>
                  </a:lnTo>
                  <a:lnTo>
                    <a:pt x="69225" y="0"/>
                  </a:lnTo>
                  <a:close/>
                  <a:moveTo>
                    <a:pt x="190328" y="207458"/>
                  </a:moveTo>
                  <a:lnTo>
                    <a:pt x="242206" y="207458"/>
                  </a:lnTo>
                  <a:lnTo>
                    <a:pt x="242206" y="0"/>
                  </a:lnTo>
                  <a:lnTo>
                    <a:pt x="190328" y="0"/>
                  </a:lnTo>
                  <a:lnTo>
                    <a:pt x="190328" y="207458"/>
                  </a:lnTo>
                  <a:close/>
                  <a:moveTo>
                    <a:pt x="328615" y="0"/>
                  </a:moveTo>
                  <a:lnTo>
                    <a:pt x="328615" y="207458"/>
                  </a:lnTo>
                  <a:lnTo>
                    <a:pt x="380493" y="207458"/>
                  </a:lnTo>
                  <a:lnTo>
                    <a:pt x="380493" y="103756"/>
                  </a:lnTo>
                  <a:lnTo>
                    <a:pt x="415295" y="103756"/>
                  </a:lnTo>
                  <a:lnTo>
                    <a:pt x="415295" y="172981"/>
                  </a:lnTo>
                  <a:lnTo>
                    <a:pt x="432641" y="207458"/>
                  </a:lnTo>
                  <a:lnTo>
                    <a:pt x="553798" y="207458"/>
                  </a:lnTo>
                  <a:lnTo>
                    <a:pt x="553798" y="103756"/>
                  </a:lnTo>
                  <a:lnTo>
                    <a:pt x="579737" y="103756"/>
                  </a:lnTo>
                  <a:lnTo>
                    <a:pt x="579737" y="207458"/>
                  </a:lnTo>
                  <a:lnTo>
                    <a:pt x="631561" y="207458"/>
                  </a:lnTo>
                  <a:lnTo>
                    <a:pt x="631561" y="103756"/>
                  </a:lnTo>
                  <a:lnTo>
                    <a:pt x="657555" y="103756"/>
                  </a:lnTo>
                  <a:lnTo>
                    <a:pt x="657555" y="207458"/>
                  </a:lnTo>
                  <a:lnTo>
                    <a:pt x="709433" y="207458"/>
                  </a:lnTo>
                  <a:lnTo>
                    <a:pt x="709433" y="103756"/>
                  </a:lnTo>
                  <a:lnTo>
                    <a:pt x="735372" y="103756"/>
                  </a:lnTo>
                  <a:lnTo>
                    <a:pt x="735372" y="69225"/>
                  </a:lnTo>
                  <a:lnTo>
                    <a:pt x="709433" y="69225"/>
                  </a:lnTo>
                  <a:lnTo>
                    <a:pt x="709433" y="34477"/>
                  </a:lnTo>
                  <a:lnTo>
                    <a:pt x="657555" y="34477"/>
                  </a:lnTo>
                  <a:lnTo>
                    <a:pt x="657555" y="69225"/>
                  </a:lnTo>
                  <a:lnTo>
                    <a:pt x="631561" y="69225"/>
                  </a:lnTo>
                  <a:lnTo>
                    <a:pt x="631561" y="34477"/>
                  </a:lnTo>
                  <a:lnTo>
                    <a:pt x="579737" y="34477"/>
                  </a:lnTo>
                  <a:lnTo>
                    <a:pt x="579737" y="69225"/>
                  </a:lnTo>
                  <a:lnTo>
                    <a:pt x="501650" y="69225"/>
                  </a:lnTo>
                  <a:lnTo>
                    <a:pt x="501650" y="172927"/>
                  </a:lnTo>
                  <a:lnTo>
                    <a:pt x="467173" y="172927"/>
                  </a:lnTo>
                  <a:lnTo>
                    <a:pt x="467173" y="69225"/>
                  </a:lnTo>
                  <a:lnTo>
                    <a:pt x="380547" y="69225"/>
                  </a:lnTo>
                  <a:lnTo>
                    <a:pt x="380547" y="34477"/>
                  </a:lnTo>
                  <a:lnTo>
                    <a:pt x="467173" y="34477"/>
                  </a:lnTo>
                  <a:lnTo>
                    <a:pt x="467173" y="0"/>
                  </a:lnTo>
                  <a:lnTo>
                    <a:pt x="328669" y="0"/>
                  </a:lnTo>
                  <a:close/>
                  <a:moveTo>
                    <a:pt x="899760" y="34477"/>
                  </a:moveTo>
                  <a:lnTo>
                    <a:pt x="951692" y="34477"/>
                  </a:lnTo>
                  <a:lnTo>
                    <a:pt x="951692" y="0"/>
                  </a:lnTo>
                  <a:lnTo>
                    <a:pt x="899760" y="0"/>
                  </a:lnTo>
                  <a:lnTo>
                    <a:pt x="899760" y="34477"/>
                  </a:lnTo>
                  <a:close/>
                </a:path>
              </a:pathLst>
            </a:custGeom>
            <a:grpFill/>
            <a:ln w="538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" name="Freeform: Shape 8">
              <a:extLst>
                <a:ext uri="{FF2B5EF4-FFF2-40B4-BE49-F238E27FC236}">
                  <a16:creationId xmlns:a16="http://schemas.microsoft.com/office/drawing/2014/main" id="{4B16180B-1850-72D4-B81C-33C05B2769E8}"/>
                </a:ext>
              </a:extLst>
            </p:cNvPr>
            <p:cNvSpPr/>
            <p:nvPr/>
          </p:nvSpPr>
          <p:spPr bwMode="black">
            <a:xfrm>
              <a:off x="9951588" y="538699"/>
              <a:ext cx="415348" cy="363146"/>
            </a:xfrm>
            <a:custGeom>
              <a:avLst/>
              <a:gdLst>
                <a:gd name="connsiteX0" fmla="*/ 156175 w 415348"/>
                <a:gd name="connsiteY0" fmla="*/ 155526 h 363146"/>
                <a:gd name="connsiteX1" fmla="*/ 207782 w 415348"/>
                <a:gd name="connsiteY1" fmla="*/ 103864 h 363146"/>
                <a:gd name="connsiteX2" fmla="*/ 259390 w 415348"/>
                <a:gd name="connsiteY2" fmla="*/ 155526 h 363146"/>
                <a:gd name="connsiteX3" fmla="*/ 207782 w 415348"/>
                <a:gd name="connsiteY3" fmla="*/ 207296 h 363146"/>
                <a:gd name="connsiteX4" fmla="*/ 156175 w 415348"/>
                <a:gd name="connsiteY4" fmla="*/ 155526 h 363146"/>
                <a:gd name="connsiteX5" fmla="*/ 207782 w 415348"/>
                <a:gd name="connsiteY5" fmla="*/ 0 h 363146"/>
                <a:gd name="connsiteX6" fmla="*/ 0 w 415348"/>
                <a:gd name="connsiteY6" fmla="*/ 207350 h 363146"/>
                <a:gd name="connsiteX7" fmla="*/ 51986 w 415348"/>
                <a:gd name="connsiteY7" fmla="*/ 259228 h 363146"/>
                <a:gd name="connsiteX8" fmla="*/ 104134 w 415348"/>
                <a:gd name="connsiteY8" fmla="*/ 207512 h 363146"/>
                <a:gd name="connsiteX9" fmla="*/ 155904 w 415348"/>
                <a:gd name="connsiteY9" fmla="*/ 259499 h 363146"/>
                <a:gd name="connsiteX10" fmla="*/ 103810 w 415348"/>
                <a:gd name="connsiteY10" fmla="*/ 311593 h 363146"/>
                <a:gd name="connsiteX11" fmla="*/ 155904 w 415348"/>
                <a:gd name="connsiteY11" fmla="*/ 363147 h 363146"/>
                <a:gd name="connsiteX12" fmla="*/ 206810 w 415348"/>
                <a:gd name="connsiteY12" fmla="*/ 311431 h 363146"/>
                <a:gd name="connsiteX13" fmla="*/ 259823 w 415348"/>
                <a:gd name="connsiteY13" fmla="*/ 363147 h 363146"/>
                <a:gd name="connsiteX14" fmla="*/ 311485 w 415348"/>
                <a:gd name="connsiteY14" fmla="*/ 311431 h 363146"/>
                <a:gd name="connsiteX15" fmla="*/ 259823 w 415348"/>
                <a:gd name="connsiteY15" fmla="*/ 259769 h 363146"/>
                <a:gd name="connsiteX16" fmla="*/ 312025 w 415348"/>
                <a:gd name="connsiteY16" fmla="*/ 207512 h 363146"/>
                <a:gd name="connsiteX17" fmla="*/ 363633 w 415348"/>
                <a:gd name="connsiteY17" fmla="*/ 259228 h 363146"/>
                <a:gd name="connsiteX18" fmla="*/ 415349 w 415348"/>
                <a:gd name="connsiteY18" fmla="*/ 207512 h 363146"/>
                <a:gd name="connsiteX19" fmla="*/ 207782 w 415348"/>
                <a:gd name="connsiteY19" fmla="*/ 0 h 3631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415348" h="363146">
                  <a:moveTo>
                    <a:pt x="156175" y="155526"/>
                  </a:moveTo>
                  <a:lnTo>
                    <a:pt x="207782" y="103864"/>
                  </a:lnTo>
                  <a:lnTo>
                    <a:pt x="259390" y="155526"/>
                  </a:lnTo>
                  <a:lnTo>
                    <a:pt x="207782" y="207296"/>
                  </a:lnTo>
                  <a:lnTo>
                    <a:pt x="156175" y="155526"/>
                  </a:lnTo>
                  <a:close/>
                  <a:moveTo>
                    <a:pt x="207782" y="0"/>
                  </a:moveTo>
                  <a:lnTo>
                    <a:pt x="0" y="207350"/>
                  </a:lnTo>
                  <a:lnTo>
                    <a:pt x="51986" y="259228"/>
                  </a:lnTo>
                  <a:lnTo>
                    <a:pt x="104134" y="207512"/>
                  </a:lnTo>
                  <a:lnTo>
                    <a:pt x="155904" y="259499"/>
                  </a:lnTo>
                  <a:lnTo>
                    <a:pt x="103810" y="311593"/>
                  </a:lnTo>
                  <a:lnTo>
                    <a:pt x="155904" y="363147"/>
                  </a:lnTo>
                  <a:lnTo>
                    <a:pt x="206810" y="311431"/>
                  </a:lnTo>
                  <a:lnTo>
                    <a:pt x="259823" y="363147"/>
                  </a:lnTo>
                  <a:lnTo>
                    <a:pt x="311485" y="311431"/>
                  </a:lnTo>
                  <a:lnTo>
                    <a:pt x="259823" y="259769"/>
                  </a:lnTo>
                  <a:lnTo>
                    <a:pt x="312025" y="207512"/>
                  </a:lnTo>
                  <a:lnTo>
                    <a:pt x="363633" y="259228"/>
                  </a:lnTo>
                  <a:lnTo>
                    <a:pt x="415349" y="207512"/>
                  </a:lnTo>
                  <a:lnTo>
                    <a:pt x="207782" y="0"/>
                  </a:lnTo>
                  <a:close/>
                </a:path>
              </a:pathLst>
            </a:custGeom>
            <a:solidFill>
              <a:schemeClr val="accent2"/>
            </a:solidFill>
            <a:ln w="538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6CFB16CB-922F-1EB5-FF04-BBE2E08EDD8E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539750" y="1618719"/>
            <a:ext cx="11112497" cy="4428895"/>
          </a:xfrm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Please insert content</a:t>
            </a:r>
          </a:p>
        </p:txBody>
      </p:sp>
    </p:spTree>
    <p:extLst>
      <p:ext uri="{BB962C8B-B14F-4D97-AF65-F5344CB8AC3E}">
        <p14:creationId xmlns:p14="http://schemas.microsoft.com/office/powerpoint/2010/main" val="297324536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_1 column_l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A597281-ABB7-066F-7A10-EF9E1776C1D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ease insert a Headlin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BABAA35-1304-A3EC-A9C3-854E14C4664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Al-Futtaim Template 2025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2D61B8B-D6CA-BCE6-71B4-5C8A439C247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83109594-1B45-46DB-8A0B-416F125317D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7B82DAD-1AFC-2023-BB91-5E7F5BD2C6D0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F1C2088A-812C-4951-BE55-CF481FD303E4}" type="datetime1">
              <a:rPr lang="en-US" smtClean="0"/>
              <a:t>21/08/2025</a:t>
            </a:fld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8B4C8F2A-2924-AB97-B224-E2E3A1F3CEA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39750" y="927799"/>
            <a:ext cx="9229725" cy="388937"/>
          </a:xfrm>
        </p:spPr>
        <p:txBody>
          <a:bodyPr>
            <a:noAutofit/>
          </a:bodyPr>
          <a:lstStyle>
            <a:lvl1pPr>
              <a:defRPr sz="28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Please insert a </a:t>
            </a:r>
            <a:r>
              <a:rPr lang="en-US" dirty="0" err="1"/>
              <a:t>Subheadline</a:t>
            </a:r>
            <a:endParaRPr lang="en-US" dirty="0"/>
          </a:p>
        </p:txBody>
      </p:sp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6CFB16CB-922F-1EB5-FF04-BBE2E08EDD8E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539750" y="1619780"/>
            <a:ext cx="11112497" cy="4425419"/>
          </a:xfrm>
        </p:spPr>
        <p:txBody>
          <a:bodyPr>
            <a:noAutofit/>
          </a:bodyPr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 marL="540000" indent="0">
              <a:buNone/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Please insert conten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8424558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 Slide_2 columns_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A597281-ABB7-066F-7A10-EF9E1776C1D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Please insert a Headlin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BABAA35-1304-A3EC-A9C3-854E14C4664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Al-Futtaim Template 2025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2D61B8B-D6CA-BCE6-71B4-5C8A439C247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3109594-1B45-46DB-8A0B-416F125317D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7B82DAD-1AFC-2023-BB91-5E7F5BD2C6D0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735044D-8465-462B-BA91-D9191558C207}" type="datetime1">
              <a:rPr lang="en-US" smtClean="0"/>
              <a:t>21/08/2025</a:t>
            </a:fld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8B4C8F2A-2924-AB97-B224-E2E3A1F3CEA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39750" y="927799"/>
            <a:ext cx="9229725" cy="388937"/>
          </a:xfrm>
        </p:spPr>
        <p:txBody>
          <a:bodyPr>
            <a:noAutofit/>
          </a:bodyPr>
          <a:lstStyle>
            <a:lvl1pPr>
              <a:defRPr sz="28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Please insert a </a:t>
            </a:r>
            <a:r>
              <a:rPr lang="en-US" dirty="0" err="1"/>
              <a:t>Subheadline</a:t>
            </a:r>
            <a:endParaRPr lang="en-US" dirty="0"/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4206CEE7-7789-CB91-EF4D-3B100C9CE898}"/>
              </a:ext>
            </a:extLst>
          </p:cNvPr>
          <p:cNvGrpSpPr/>
          <p:nvPr userDrawn="1"/>
        </p:nvGrpSpPr>
        <p:grpSpPr bwMode="black">
          <a:xfrm>
            <a:off x="9951588" y="538699"/>
            <a:ext cx="1704301" cy="363146"/>
            <a:chOff x="9951588" y="538699"/>
            <a:chExt cx="1704301" cy="363146"/>
          </a:xfrm>
          <a:solidFill>
            <a:schemeClr val="bg1"/>
          </a:solidFill>
        </p:grpSpPr>
        <p:sp>
          <p:nvSpPr>
            <p:cNvPr id="8" name="Freeform: Shape 7">
              <a:extLst>
                <a:ext uri="{FF2B5EF4-FFF2-40B4-BE49-F238E27FC236}">
                  <a16:creationId xmlns:a16="http://schemas.microsoft.com/office/drawing/2014/main" id="{0E5AA8AB-2619-D1A1-94A8-5450D8107697}"/>
                </a:ext>
              </a:extLst>
            </p:cNvPr>
            <p:cNvSpPr/>
            <p:nvPr/>
          </p:nvSpPr>
          <p:spPr bwMode="black">
            <a:xfrm>
              <a:off x="10470746" y="642617"/>
              <a:ext cx="1185143" cy="207458"/>
            </a:xfrm>
            <a:custGeom>
              <a:avLst/>
              <a:gdLst>
                <a:gd name="connsiteX0" fmla="*/ 259606 w 1185143"/>
                <a:gd name="connsiteY0" fmla="*/ 138234 h 207458"/>
                <a:gd name="connsiteX1" fmla="*/ 311539 w 1185143"/>
                <a:gd name="connsiteY1" fmla="*/ 138234 h 207458"/>
                <a:gd name="connsiteX2" fmla="*/ 311539 w 1185143"/>
                <a:gd name="connsiteY2" fmla="*/ 103486 h 207458"/>
                <a:gd name="connsiteX3" fmla="*/ 259606 w 1185143"/>
                <a:gd name="connsiteY3" fmla="*/ 103486 h 207458"/>
                <a:gd name="connsiteX4" fmla="*/ 259606 w 1185143"/>
                <a:gd name="connsiteY4" fmla="*/ 138234 h 207458"/>
                <a:gd name="connsiteX5" fmla="*/ 787196 w 1185143"/>
                <a:gd name="connsiteY5" fmla="*/ 103756 h 207458"/>
                <a:gd name="connsiteX6" fmla="*/ 821943 w 1185143"/>
                <a:gd name="connsiteY6" fmla="*/ 103756 h 207458"/>
                <a:gd name="connsiteX7" fmla="*/ 821943 w 1185143"/>
                <a:gd name="connsiteY7" fmla="*/ 172981 h 207458"/>
                <a:gd name="connsiteX8" fmla="*/ 787196 w 1185143"/>
                <a:gd name="connsiteY8" fmla="*/ 172981 h 207458"/>
                <a:gd name="connsiteX9" fmla="*/ 787196 w 1185143"/>
                <a:gd name="connsiteY9" fmla="*/ 103756 h 207458"/>
                <a:gd name="connsiteX10" fmla="*/ 752718 w 1185143"/>
                <a:gd name="connsiteY10" fmla="*/ 69225 h 207458"/>
                <a:gd name="connsiteX11" fmla="*/ 735318 w 1185143"/>
                <a:gd name="connsiteY11" fmla="*/ 103756 h 207458"/>
                <a:gd name="connsiteX12" fmla="*/ 735318 w 1185143"/>
                <a:gd name="connsiteY12" fmla="*/ 172981 h 207458"/>
                <a:gd name="connsiteX13" fmla="*/ 752718 w 1185143"/>
                <a:gd name="connsiteY13" fmla="*/ 207458 h 207458"/>
                <a:gd name="connsiteX14" fmla="*/ 873821 w 1185143"/>
                <a:gd name="connsiteY14" fmla="*/ 207458 h 207458"/>
                <a:gd name="connsiteX15" fmla="*/ 873821 w 1185143"/>
                <a:gd name="connsiteY15" fmla="*/ 69225 h 207458"/>
                <a:gd name="connsiteX16" fmla="*/ 752718 w 1185143"/>
                <a:gd name="connsiteY16" fmla="*/ 69225 h 207458"/>
                <a:gd name="connsiteX17" fmla="*/ 977577 w 1185143"/>
                <a:gd name="connsiteY17" fmla="*/ 69225 h 207458"/>
                <a:gd name="connsiteX18" fmla="*/ 977577 w 1185143"/>
                <a:gd name="connsiteY18" fmla="*/ 207458 h 207458"/>
                <a:gd name="connsiteX19" fmla="*/ 1029455 w 1185143"/>
                <a:gd name="connsiteY19" fmla="*/ 207458 h 207458"/>
                <a:gd name="connsiteX20" fmla="*/ 1029455 w 1185143"/>
                <a:gd name="connsiteY20" fmla="*/ 103756 h 207458"/>
                <a:gd name="connsiteX21" fmla="*/ 1055394 w 1185143"/>
                <a:gd name="connsiteY21" fmla="*/ 103756 h 207458"/>
                <a:gd name="connsiteX22" fmla="*/ 1055394 w 1185143"/>
                <a:gd name="connsiteY22" fmla="*/ 207458 h 207458"/>
                <a:gd name="connsiteX23" fmla="*/ 1107273 w 1185143"/>
                <a:gd name="connsiteY23" fmla="*/ 207458 h 207458"/>
                <a:gd name="connsiteX24" fmla="*/ 1107273 w 1185143"/>
                <a:gd name="connsiteY24" fmla="*/ 103756 h 207458"/>
                <a:gd name="connsiteX25" fmla="*/ 1133266 w 1185143"/>
                <a:gd name="connsiteY25" fmla="*/ 103756 h 207458"/>
                <a:gd name="connsiteX26" fmla="*/ 1133266 w 1185143"/>
                <a:gd name="connsiteY26" fmla="*/ 207458 h 207458"/>
                <a:gd name="connsiteX27" fmla="*/ 1185144 w 1185143"/>
                <a:gd name="connsiteY27" fmla="*/ 207458 h 207458"/>
                <a:gd name="connsiteX28" fmla="*/ 1185144 w 1185143"/>
                <a:gd name="connsiteY28" fmla="*/ 103756 h 207458"/>
                <a:gd name="connsiteX29" fmla="*/ 1168013 w 1185143"/>
                <a:gd name="connsiteY29" fmla="*/ 69225 h 207458"/>
                <a:gd name="connsiteX30" fmla="*/ 977631 w 1185143"/>
                <a:gd name="connsiteY30" fmla="*/ 69225 h 207458"/>
                <a:gd name="connsiteX31" fmla="*/ 899760 w 1185143"/>
                <a:gd name="connsiteY31" fmla="*/ 207458 h 207458"/>
                <a:gd name="connsiteX32" fmla="*/ 951692 w 1185143"/>
                <a:gd name="connsiteY32" fmla="*/ 207458 h 207458"/>
                <a:gd name="connsiteX33" fmla="*/ 951692 w 1185143"/>
                <a:gd name="connsiteY33" fmla="*/ 69225 h 207458"/>
                <a:gd name="connsiteX34" fmla="*/ 899760 w 1185143"/>
                <a:gd name="connsiteY34" fmla="*/ 69009 h 207458"/>
                <a:gd name="connsiteX35" fmla="*/ 899760 w 1185143"/>
                <a:gd name="connsiteY35" fmla="*/ 207458 h 207458"/>
                <a:gd name="connsiteX36" fmla="*/ 112565 w 1185143"/>
                <a:gd name="connsiteY36" fmla="*/ 34477 h 207458"/>
                <a:gd name="connsiteX37" fmla="*/ 112565 w 1185143"/>
                <a:gd name="connsiteY37" fmla="*/ 103756 h 207458"/>
                <a:gd name="connsiteX38" fmla="*/ 86355 w 1185143"/>
                <a:gd name="connsiteY38" fmla="*/ 103756 h 207458"/>
                <a:gd name="connsiteX39" fmla="*/ 112565 w 1185143"/>
                <a:gd name="connsiteY39" fmla="*/ 34477 h 207458"/>
                <a:gd name="connsiteX40" fmla="*/ 69225 w 1185143"/>
                <a:gd name="connsiteY40" fmla="*/ 0 h 207458"/>
                <a:gd name="connsiteX41" fmla="*/ 0 w 1185143"/>
                <a:gd name="connsiteY41" fmla="*/ 207458 h 207458"/>
                <a:gd name="connsiteX42" fmla="*/ 51878 w 1185143"/>
                <a:gd name="connsiteY42" fmla="*/ 207458 h 207458"/>
                <a:gd name="connsiteX43" fmla="*/ 77817 w 1185143"/>
                <a:gd name="connsiteY43" fmla="*/ 138450 h 207458"/>
                <a:gd name="connsiteX44" fmla="*/ 112565 w 1185143"/>
                <a:gd name="connsiteY44" fmla="*/ 138450 h 207458"/>
                <a:gd name="connsiteX45" fmla="*/ 112565 w 1185143"/>
                <a:gd name="connsiteY45" fmla="*/ 207458 h 207458"/>
                <a:gd name="connsiteX46" fmla="*/ 164443 w 1185143"/>
                <a:gd name="connsiteY46" fmla="*/ 207458 h 207458"/>
                <a:gd name="connsiteX47" fmla="*/ 164443 w 1185143"/>
                <a:gd name="connsiteY47" fmla="*/ 0 h 207458"/>
                <a:gd name="connsiteX48" fmla="*/ 69225 w 1185143"/>
                <a:gd name="connsiteY48" fmla="*/ 0 h 207458"/>
                <a:gd name="connsiteX49" fmla="*/ 190328 w 1185143"/>
                <a:gd name="connsiteY49" fmla="*/ 207458 h 207458"/>
                <a:gd name="connsiteX50" fmla="*/ 242206 w 1185143"/>
                <a:gd name="connsiteY50" fmla="*/ 207458 h 207458"/>
                <a:gd name="connsiteX51" fmla="*/ 242206 w 1185143"/>
                <a:gd name="connsiteY51" fmla="*/ 0 h 207458"/>
                <a:gd name="connsiteX52" fmla="*/ 190328 w 1185143"/>
                <a:gd name="connsiteY52" fmla="*/ 0 h 207458"/>
                <a:gd name="connsiteX53" fmla="*/ 190328 w 1185143"/>
                <a:gd name="connsiteY53" fmla="*/ 207458 h 207458"/>
                <a:gd name="connsiteX54" fmla="*/ 328615 w 1185143"/>
                <a:gd name="connsiteY54" fmla="*/ 0 h 207458"/>
                <a:gd name="connsiteX55" fmla="*/ 328615 w 1185143"/>
                <a:gd name="connsiteY55" fmla="*/ 207458 h 207458"/>
                <a:gd name="connsiteX56" fmla="*/ 380493 w 1185143"/>
                <a:gd name="connsiteY56" fmla="*/ 207458 h 207458"/>
                <a:gd name="connsiteX57" fmla="*/ 380493 w 1185143"/>
                <a:gd name="connsiteY57" fmla="*/ 103756 h 207458"/>
                <a:gd name="connsiteX58" fmla="*/ 415295 w 1185143"/>
                <a:gd name="connsiteY58" fmla="*/ 103756 h 207458"/>
                <a:gd name="connsiteX59" fmla="*/ 415295 w 1185143"/>
                <a:gd name="connsiteY59" fmla="*/ 172981 h 207458"/>
                <a:gd name="connsiteX60" fmla="*/ 432641 w 1185143"/>
                <a:gd name="connsiteY60" fmla="*/ 207458 h 207458"/>
                <a:gd name="connsiteX61" fmla="*/ 553798 w 1185143"/>
                <a:gd name="connsiteY61" fmla="*/ 207458 h 207458"/>
                <a:gd name="connsiteX62" fmla="*/ 553798 w 1185143"/>
                <a:gd name="connsiteY62" fmla="*/ 103756 h 207458"/>
                <a:gd name="connsiteX63" fmla="*/ 579737 w 1185143"/>
                <a:gd name="connsiteY63" fmla="*/ 103756 h 207458"/>
                <a:gd name="connsiteX64" fmla="*/ 579737 w 1185143"/>
                <a:gd name="connsiteY64" fmla="*/ 207458 h 207458"/>
                <a:gd name="connsiteX65" fmla="*/ 631561 w 1185143"/>
                <a:gd name="connsiteY65" fmla="*/ 207458 h 207458"/>
                <a:gd name="connsiteX66" fmla="*/ 631561 w 1185143"/>
                <a:gd name="connsiteY66" fmla="*/ 103756 h 207458"/>
                <a:gd name="connsiteX67" fmla="*/ 657555 w 1185143"/>
                <a:gd name="connsiteY67" fmla="*/ 103756 h 207458"/>
                <a:gd name="connsiteX68" fmla="*/ 657555 w 1185143"/>
                <a:gd name="connsiteY68" fmla="*/ 207458 h 207458"/>
                <a:gd name="connsiteX69" fmla="*/ 709433 w 1185143"/>
                <a:gd name="connsiteY69" fmla="*/ 207458 h 207458"/>
                <a:gd name="connsiteX70" fmla="*/ 709433 w 1185143"/>
                <a:gd name="connsiteY70" fmla="*/ 103756 h 207458"/>
                <a:gd name="connsiteX71" fmla="*/ 735372 w 1185143"/>
                <a:gd name="connsiteY71" fmla="*/ 103756 h 207458"/>
                <a:gd name="connsiteX72" fmla="*/ 735372 w 1185143"/>
                <a:gd name="connsiteY72" fmla="*/ 69225 h 207458"/>
                <a:gd name="connsiteX73" fmla="*/ 709433 w 1185143"/>
                <a:gd name="connsiteY73" fmla="*/ 69225 h 207458"/>
                <a:gd name="connsiteX74" fmla="*/ 709433 w 1185143"/>
                <a:gd name="connsiteY74" fmla="*/ 34477 h 207458"/>
                <a:gd name="connsiteX75" fmla="*/ 657555 w 1185143"/>
                <a:gd name="connsiteY75" fmla="*/ 34477 h 207458"/>
                <a:gd name="connsiteX76" fmla="*/ 657555 w 1185143"/>
                <a:gd name="connsiteY76" fmla="*/ 69225 h 207458"/>
                <a:gd name="connsiteX77" fmla="*/ 631561 w 1185143"/>
                <a:gd name="connsiteY77" fmla="*/ 69225 h 207458"/>
                <a:gd name="connsiteX78" fmla="*/ 631561 w 1185143"/>
                <a:gd name="connsiteY78" fmla="*/ 34477 h 207458"/>
                <a:gd name="connsiteX79" fmla="*/ 579737 w 1185143"/>
                <a:gd name="connsiteY79" fmla="*/ 34477 h 207458"/>
                <a:gd name="connsiteX80" fmla="*/ 579737 w 1185143"/>
                <a:gd name="connsiteY80" fmla="*/ 69225 h 207458"/>
                <a:gd name="connsiteX81" fmla="*/ 501650 w 1185143"/>
                <a:gd name="connsiteY81" fmla="*/ 69225 h 207458"/>
                <a:gd name="connsiteX82" fmla="*/ 501650 w 1185143"/>
                <a:gd name="connsiteY82" fmla="*/ 172927 h 207458"/>
                <a:gd name="connsiteX83" fmla="*/ 467173 w 1185143"/>
                <a:gd name="connsiteY83" fmla="*/ 172927 h 207458"/>
                <a:gd name="connsiteX84" fmla="*/ 467173 w 1185143"/>
                <a:gd name="connsiteY84" fmla="*/ 69225 h 207458"/>
                <a:gd name="connsiteX85" fmla="*/ 380547 w 1185143"/>
                <a:gd name="connsiteY85" fmla="*/ 69225 h 207458"/>
                <a:gd name="connsiteX86" fmla="*/ 380547 w 1185143"/>
                <a:gd name="connsiteY86" fmla="*/ 34477 h 207458"/>
                <a:gd name="connsiteX87" fmla="*/ 467173 w 1185143"/>
                <a:gd name="connsiteY87" fmla="*/ 34477 h 207458"/>
                <a:gd name="connsiteX88" fmla="*/ 467173 w 1185143"/>
                <a:gd name="connsiteY88" fmla="*/ 0 h 207458"/>
                <a:gd name="connsiteX89" fmla="*/ 328669 w 1185143"/>
                <a:gd name="connsiteY89" fmla="*/ 0 h 207458"/>
                <a:gd name="connsiteX90" fmla="*/ 899760 w 1185143"/>
                <a:gd name="connsiteY90" fmla="*/ 34477 h 207458"/>
                <a:gd name="connsiteX91" fmla="*/ 951692 w 1185143"/>
                <a:gd name="connsiteY91" fmla="*/ 34477 h 207458"/>
                <a:gd name="connsiteX92" fmla="*/ 951692 w 1185143"/>
                <a:gd name="connsiteY92" fmla="*/ 0 h 207458"/>
                <a:gd name="connsiteX93" fmla="*/ 899760 w 1185143"/>
                <a:gd name="connsiteY93" fmla="*/ 0 h 207458"/>
                <a:gd name="connsiteX94" fmla="*/ 899760 w 1185143"/>
                <a:gd name="connsiteY94" fmla="*/ 34477 h 2074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</a:cxnLst>
              <a:rect l="l" t="t" r="r" b="b"/>
              <a:pathLst>
                <a:path w="1185143" h="207458">
                  <a:moveTo>
                    <a:pt x="259606" y="138234"/>
                  </a:moveTo>
                  <a:lnTo>
                    <a:pt x="311539" y="138234"/>
                  </a:lnTo>
                  <a:lnTo>
                    <a:pt x="311539" y="103486"/>
                  </a:lnTo>
                  <a:lnTo>
                    <a:pt x="259606" y="103486"/>
                  </a:lnTo>
                  <a:lnTo>
                    <a:pt x="259606" y="138234"/>
                  </a:lnTo>
                  <a:close/>
                  <a:moveTo>
                    <a:pt x="787196" y="103756"/>
                  </a:moveTo>
                  <a:lnTo>
                    <a:pt x="821943" y="103756"/>
                  </a:lnTo>
                  <a:lnTo>
                    <a:pt x="821943" y="172981"/>
                  </a:lnTo>
                  <a:lnTo>
                    <a:pt x="787196" y="172981"/>
                  </a:lnTo>
                  <a:lnTo>
                    <a:pt x="787196" y="103756"/>
                  </a:lnTo>
                  <a:close/>
                  <a:moveTo>
                    <a:pt x="752718" y="69225"/>
                  </a:moveTo>
                  <a:lnTo>
                    <a:pt x="735318" y="103756"/>
                  </a:lnTo>
                  <a:lnTo>
                    <a:pt x="735318" y="172981"/>
                  </a:lnTo>
                  <a:lnTo>
                    <a:pt x="752718" y="207458"/>
                  </a:lnTo>
                  <a:lnTo>
                    <a:pt x="873821" y="207458"/>
                  </a:lnTo>
                  <a:lnTo>
                    <a:pt x="873821" y="69225"/>
                  </a:lnTo>
                  <a:lnTo>
                    <a:pt x="752718" y="69225"/>
                  </a:lnTo>
                  <a:close/>
                  <a:moveTo>
                    <a:pt x="977577" y="69225"/>
                  </a:moveTo>
                  <a:lnTo>
                    <a:pt x="977577" y="207458"/>
                  </a:lnTo>
                  <a:lnTo>
                    <a:pt x="1029455" y="207458"/>
                  </a:lnTo>
                  <a:lnTo>
                    <a:pt x="1029455" y="103756"/>
                  </a:lnTo>
                  <a:lnTo>
                    <a:pt x="1055394" y="103756"/>
                  </a:lnTo>
                  <a:lnTo>
                    <a:pt x="1055394" y="207458"/>
                  </a:lnTo>
                  <a:lnTo>
                    <a:pt x="1107273" y="207458"/>
                  </a:lnTo>
                  <a:lnTo>
                    <a:pt x="1107273" y="103756"/>
                  </a:lnTo>
                  <a:lnTo>
                    <a:pt x="1133266" y="103756"/>
                  </a:lnTo>
                  <a:lnTo>
                    <a:pt x="1133266" y="207458"/>
                  </a:lnTo>
                  <a:lnTo>
                    <a:pt x="1185144" y="207458"/>
                  </a:lnTo>
                  <a:lnTo>
                    <a:pt x="1185144" y="103756"/>
                  </a:lnTo>
                  <a:lnTo>
                    <a:pt x="1168013" y="69225"/>
                  </a:lnTo>
                  <a:lnTo>
                    <a:pt x="977631" y="69225"/>
                  </a:lnTo>
                  <a:close/>
                  <a:moveTo>
                    <a:pt x="899760" y="207458"/>
                  </a:moveTo>
                  <a:lnTo>
                    <a:pt x="951692" y="207458"/>
                  </a:lnTo>
                  <a:lnTo>
                    <a:pt x="951692" y="69225"/>
                  </a:lnTo>
                  <a:lnTo>
                    <a:pt x="899760" y="69009"/>
                  </a:lnTo>
                  <a:lnTo>
                    <a:pt x="899760" y="207458"/>
                  </a:lnTo>
                  <a:close/>
                  <a:moveTo>
                    <a:pt x="112565" y="34477"/>
                  </a:moveTo>
                  <a:lnTo>
                    <a:pt x="112565" y="103756"/>
                  </a:lnTo>
                  <a:lnTo>
                    <a:pt x="86355" y="103756"/>
                  </a:lnTo>
                  <a:lnTo>
                    <a:pt x="112565" y="34477"/>
                  </a:lnTo>
                  <a:close/>
                  <a:moveTo>
                    <a:pt x="69225" y="0"/>
                  </a:moveTo>
                  <a:lnTo>
                    <a:pt x="0" y="207458"/>
                  </a:lnTo>
                  <a:lnTo>
                    <a:pt x="51878" y="207458"/>
                  </a:lnTo>
                  <a:lnTo>
                    <a:pt x="77817" y="138450"/>
                  </a:lnTo>
                  <a:lnTo>
                    <a:pt x="112565" y="138450"/>
                  </a:lnTo>
                  <a:lnTo>
                    <a:pt x="112565" y="207458"/>
                  </a:lnTo>
                  <a:lnTo>
                    <a:pt x="164443" y="207458"/>
                  </a:lnTo>
                  <a:lnTo>
                    <a:pt x="164443" y="0"/>
                  </a:lnTo>
                  <a:lnTo>
                    <a:pt x="69225" y="0"/>
                  </a:lnTo>
                  <a:close/>
                  <a:moveTo>
                    <a:pt x="190328" y="207458"/>
                  </a:moveTo>
                  <a:lnTo>
                    <a:pt x="242206" y="207458"/>
                  </a:lnTo>
                  <a:lnTo>
                    <a:pt x="242206" y="0"/>
                  </a:lnTo>
                  <a:lnTo>
                    <a:pt x="190328" y="0"/>
                  </a:lnTo>
                  <a:lnTo>
                    <a:pt x="190328" y="207458"/>
                  </a:lnTo>
                  <a:close/>
                  <a:moveTo>
                    <a:pt x="328615" y="0"/>
                  </a:moveTo>
                  <a:lnTo>
                    <a:pt x="328615" y="207458"/>
                  </a:lnTo>
                  <a:lnTo>
                    <a:pt x="380493" y="207458"/>
                  </a:lnTo>
                  <a:lnTo>
                    <a:pt x="380493" y="103756"/>
                  </a:lnTo>
                  <a:lnTo>
                    <a:pt x="415295" y="103756"/>
                  </a:lnTo>
                  <a:lnTo>
                    <a:pt x="415295" y="172981"/>
                  </a:lnTo>
                  <a:lnTo>
                    <a:pt x="432641" y="207458"/>
                  </a:lnTo>
                  <a:lnTo>
                    <a:pt x="553798" y="207458"/>
                  </a:lnTo>
                  <a:lnTo>
                    <a:pt x="553798" y="103756"/>
                  </a:lnTo>
                  <a:lnTo>
                    <a:pt x="579737" y="103756"/>
                  </a:lnTo>
                  <a:lnTo>
                    <a:pt x="579737" y="207458"/>
                  </a:lnTo>
                  <a:lnTo>
                    <a:pt x="631561" y="207458"/>
                  </a:lnTo>
                  <a:lnTo>
                    <a:pt x="631561" y="103756"/>
                  </a:lnTo>
                  <a:lnTo>
                    <a:pt x="657555" y="103756"/>
                  </a:lnTo>
                  <a:lnTo>
                    <a:pt x="657555" y="207458"/>
                  </a:lnTo>
                  <a:lnTo>
                    <a:pt x="709433" y="207458"/>
                  </a:lnTo>
                  <a:lnTo>
                    <a:pt x="709433" y="103756"/>
                  </a:lnTo>
                  <a:lnTo>
                    <a:pt x="735372" y="103756"/>
                  </a:lnTo>
                  <a:lnTo>
                    <a:pt x="735372" y="69225"/>
                  </a:lnTo>
                  <a:lnTo>
                    <a:pt x="709433" y="69225"/>
                  </a:lnTo>
                  <a:lnTo>
                    <a:pt x="709433" y="34477"/>
                  </a:lnTo>
                  <a:lnTo>
                    <a:pt x="657555" y="34477"/>
                  </a:lnTo>
                  <a:lnTo>
                    <a:pt x="657555" y="69225"/>
                  </a:lnTo>
                  <a:lnTo>
                    <a:pt x="631561" y="69225"/>
                  </a:lnTo>
                  <a:lnTo>
                    <a:pt x="631561" y="34477"/>
                  </a:lnTo>
                  <a:lnTo>
                    <a:pt x="579737" y="34477"/>
                  </a:lnTo>
                  <a:lnTo>
                    <a:pt x="579737" y="69225"/>
                  </a:lnTo>
                  <a:lnTo>
                    <a:pt x="501650" y="69225"/>
                  </a:lnTo>
                  <a:lnTo>
                    <a:pt x="501650" y="172927"/>
                  </a:lnTo>
                  <a:lnTo>
                    <a:pt x="467173" y="172927"/>
                  </a:lnTo>
                  <a:lnTo>
                    <a:pt x="467173" y="69225"/>
                  </a:lnTo>
                  <a:lnTo>
                    <a:pt x="380547" y="69225"/>
                  </a:lnTo>
                  <a:lnTo>
                    <a:pt x="380547" y="34477"/>
                  </a:lnTo>
                  <a:lnTo>
                    <a:pt x="467173" y="34477"/>
                  </a:lnTo>
                  <a:lnTo>
                    <a:pt x="467173" y="0"/>
                  </a:lnTo>
                  <a:lnTo>
                    <a:pt x="328669" y="0"/>
                  </a:lnTo>
                  <a:close/>
                  <a:moveTo>
                    <a:pt x="899760" y="34477"/>
                  </a:moveTo>
                  <a:lnTo>
                    <a:pt x="951692" y="34477"/>
                  </a:lnTo>
                  <a:lnTo>
                    <a:pt x="951692" y="0"/>
                  </a:lnTo>
                  <a:lnTo>
                    <a:pt x="899760" y="0"/>
                  </a:lnTo>
                  <a:lnTo>
                    <a:pt x="899760" y="34477"/>
                  </a:lnTo>
                  <a:close/>
                </a:path>
              </a:pathLst>
            </a:custGeom>
            <a:grpFill/>
            <a:ln w="538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" name="Freeform: Shape 8">
              <a:extLst>
                <a:ext uri="{FF2B5EF4-FFF2-40B4-BE49-F238E27FC236}">
                  <a16:creationId xmlns:a16="http://schemas.microsoft.com/office/drawing/2014/main" id="{4B16180B-1850-72D4-B81C-33C05B2769E8}"/>
                </a:ext>
              </a:extLst>
            </p:cNvPr>
            <p:cNvSpPr/>
            <p:nvPr/>
          </p:nvSpPr>
          <p:spPr bwMode="black">
            <a:xfrm>
              <a:off x="9951588" y="538699"/>
              <a:ext cx="415348" cy="363146"/>
            </a:xfrm>
            <a:custGeom>
              <a:avLst/>
              <a:gdLst>
                <a:gd name="connsiteX0" fmla="*/ 156175 w 415348"/>
                <a:gd name="connsiteY0" fmla="*/ 155526 h 363146"/>
                <a:gd name="connsiteX1" fmla="*/ 207782 w 415348"/>
                <a:gd name="connsiteY1" fmla="*/ 103864 h 363146"/>
                <a:gd name="connsiteX2" fmla="*/ 259390 w 415348"/>
                <a:gd name="connsiteY2" fmla="*/ 155526 h 363146"/>
                <a:gd name="connsiteX3" fmla="*/ 207782 w 415348"/>
                <a:gd name="connsiteY3" fmla="*/ 207296 h 363146"/>
                <a:gd name="connsiteX4" fmla="*/ 156175 w 415348"/>
                <a:gd name="connsiteY4" fmla="*/ 155526 h 363146"/>
                <a:gd name="connsiteX5" fmla="*/ 207782 w 415348"/>
                <a:gd name="connsiteY5" fmla="*/ 0 h 363146"/>
                <a:gd name="connsiteX6" fmla="*/ 0 w 415348"/>
                <a:gd name="connsiteY6" fmla="*/ 207350 h 363146"/>
                <a:gd name="connsiteX7" fmla="*/ 51986 w 415348"/>
                <a:gd name="connsiteY7" fmla="*/ 259228 h 363146"/>
                <a:gd name="connsiteX8" fmla="*/ 104134 w 415348"/>
                <a:gd name="connsiteY8" fmla="*/ 207512 h 363146"/>
                <a:gd name="connsiteX9" fmla="*/ 155904 w 415348"/>
                <a:gd name="connsiteY9" fmla="*/ 259499 h 363146"/>
                <a:gd name="connsiteX10" fmla="*/ 103810 w 415348"/>
                <a:gd name="connsiteY10" fmla="*/ 311593 h 363146"/>
                <a:gd name="connsiteX11" fmla="*/ 155904 w 415348"/>
                <a:gd name="connsiteY11" fmla="*/ 363147 h 363146"/>
                <a:gd name="connsiteX12" fmla="*/ 206810 w 415348"/>
                <a:gd name="connsiteY12" fmla="*/ 311431 h 363146"/>
                <a:gd name="connsiteX13" fmla="*/ 259823 w 415348"/>
                <a:gd name="connsiteY13" fmla="*/ 363147 h 363146"/>
                <a:gd name="connsiteX14" fmla="*/ 311485 w 415348"/>
                <a:gd name="connsiteY14" fmla="*/ 311431 h 363146"/>
                <a:gd name="connsiteX15" fmla="*/ 259823 w 415348"/>
                <a:gd name="connsiteY15" fmla="*/ 259769 h 363146"/>
                <a:gd name="connsiteX16" fmla="*/ 312025 w 415348"/>
                <a:gd name="connsiteY16" fmla="*/ 207512 h 363146"/>
                <a:gd name="connsiteX17" fmla="*/ 363633 w 415348"/>
                <a:gd name="connsiteY17" fmla="*/ 259228 h 363146"/>
                <a:gd name="connsiteX18" fmla="*/ 415349 w 415348"/>
                <a:gd name="connsiteY18" fmla="*/ 207512 h 363146"/>
                <a:gd name="connsiteX19" fmla="*/ 207782 w 415348"/>
                <a:gd name="connsiteY19" fmla="*/ 0 h 3631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415348" h="363146">
                  <a:moveTo>
                    <a:pt x="156175" y="155526"/>
                  </a:moveTo>
                  <a:lnTo>
                    <a:pt x="207782" y="103864"/>
                  </a:lnTo>
                  <a:lnTo>
                    <a:pt x="259390" y="155526"/>
                  </a:lnTo>
                  <a:lnTo>
                    <a:pt x="207782" y="207296"/>
                  </a:lnTo>
                  <a:lnTo>
                    <a:pt x="156175" y="155526"/>
                  </a:lnTo>
                  <a:close/>
                  <a:moveTo>
                    <a:pt x="207782" y="0"/>
                  </a:moveTo>
                  <a:lnTo>
                    <a:pt x="0" y="207350"/>
                  </a:lnTo>
                  <a:lnTo>
                    <a:pt x="51986" y="259228"/>
                  </a:lnTo>
                  <a:lnTo>
                    <a:pt x="104134" y="207512"/>
                  </a:lnTo>
                  <a:lnTo>
                    <a:pt x="155904" y="259499"/>
                  </a:lnTo>
                  <a:lnTo>
                    <a:pt x="103810" y="311593"/>
                  </a:lnTo>
                  <a:lnTo>
                    <a:pt x="155904" y="363147"/>
                  </a:lnTo>
                  <a:lnTo>
                    <a:pt x="206810" y="311431"/>
                  </a:lnTo>
                  <a:lnTo>
                    <a:pt x="259823" y="363147"/>
                  </a:lnTo>
                  <a:lnTo>
                    <a:pt x="311485" y="311431"/>
                  </a:lnTo>
                  <a:lnTo>
                    <a:pt x="259823" y="259769"/>
                  </a:lnTo>
                  <a:lnTo>
                    <a:pt x="312025" y="207512"/>
                  </a:lnTo>
                  <a:lnTo>
                    <a:pt x="363633" y="259228"/>
                  </a:lnTo>
                  <a:lnTo>
                    <a:pt x="415349" y="207512"/>
                  </a:lnTo>
                  <a:lnTo>
                    <a:pt x="207782" y="0"/>
                  </a:lnTo>
                  <a:close/>
                </a:path>
              </a:pathLst>
            </a:custGeom>
            <a:solidFill>
              <a:schemeClr val="accent2"/>
            </a:solidFill>
            <a:ln w="538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6CFB16CB-922F-1EB5-FF04-BBE2E08EDD8E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540001" y="1618719"/>
            <a:ext cx="5465999" cy="4427537"/>
          </a:xfrm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 marL="5400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Please insert content</a:t>
            </a:r>
          </a:p>
        </p:txBody>
      </p:sp>
      <p:sp>
        <p:nvSpPr>
          <p:cNvPr id="14" name="Content Placeholder 13">
            <a:extLst>
              <a:ext uri="{FF2B5EF4-FFF2-40B4-BE49-F238E27FC236}">
                <a16:creationId xmlns:a16="http://schemas.microsoft.com/office/drawing/2014/main" id="{3F82E096-CAC5-9D80-FF2E-17A527AF04E3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6186000" y="1617662"/>
            <a:ext cx="5465999" cy="4427537"/>
          </a:xfrm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Please insert content</a:t>
            </a:r>
          </a:p>
        </p:txBody>
      </p:sp>
    </p:spTree>
    <p:extLst>
      <p:ext uri="{BB962C8B-B14F-4D97-AF65-F5344CB8AC3E}">
        <p14:creationId xmlns:p14="http://schemas.microsoft.com/office/powerpoint/2010/main" val="7407783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83" userDrawn="1">
          <p15:clr>
            <a:srgbClr val="FBAE40"/>
          </p15:clr>
        </p15:guide>
        <p15:guide id="2" pos="3896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_2 columns_l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A597281-ABB7-066F-7A10-EF9E1776C1D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ease insert a Headlin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BABAA35-1304-A3EC-A9C3-854E14C4664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Al-Futtaim Template 2025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2D61B8B-D6CA-BCE6-71B4-5C8A439C247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83109594-1B45-46DB-8A0B-416F125317D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7B82DAD-1AFC-2023-BB91-5E7F5BD2C6D0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4E9CF213-B401-4574-BC12-E60AEC5DEAB4}" type="datetime1">
              <a:rPr lang="en-US" smtClean="0"/>
              <a:t>21/08/2025</a:t>
            </a:fld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8B4C8F2A-2924-AB97-B224-E2E3A1F3CEA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39750" y="927799"/>
            <a:ext cx="9229725" cy="388937"/>
          </a:xfrm>
        </p:spPr>
        <p:txBody>
          <a:bodyPr>
            <a:noAutofit/>
          </a:bodyPr>
          <a:lstStyle>
            <a:lvl1pPr>
              <a:defRPr sz="28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Please insert a </a:t>
            </a:r>
            <a:r>
              <a:rPr lang="en-US" dirty="0" err="1"/>
              <a:t>Subheadline</a:t>
            </a:r>
            <a:endParaRPr lang="en-US" dirty="0"/>
          </a:p>
        </p:txBody>
      </p:sp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6CFB16CB-922F-1EB5-FF04-BBE2E08EDD8E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540001" y="1618720"/>
            <a:ext cx="5465999" cy="4426480"/>
          </a:xfrm>
        </p:spPr>
        <p:txBody>
          <a:bodyPr>
            <a:noAutofit/>
          </a:bodyPr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 marL="540000" indent="0">
              <a:buNone/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Please insert content</a:t>
            </a:r>
          </a:p>
        </p:txBody>
      </p:sp>
      <p:sp>
        <p:nvSpPr>
          <p:cNvPr id="14" name="Content Placeholder 13">
            <a:extLst>
              <a:ext uri="{FF2B5EF4-FFF2-40B4-BE49-F238E27FC236}">
                <a16:creationId xmlns:a16="http://schemas.microsoft.com/office/drawing/2014/main" id="{3F82E096-CAC5-9D80-FF2E-17A527AF04E3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6186000" y="1617663"/>
            <a:ext cx="5465999" cy="4426480"/>
          </a:xfrm>
        </p:spPr>
        <p:txBody>
          <a:bodyPr>
            <a:noAutofit/>
          </a:bodyPr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Please insert content</a:t>
            </a:r>
          </a:p>
        </p:txBody>
      </p:sp>
    </p:spTree>
    <p:extLst>
      <p:ext uri="{BB962C8B-B14F-4D97-AF65-F5344CB8AC3E}">
        <p14:creationId xmlns:p14="http://schemas.microsoft.com/office/powerpoint/2010/main" val="20084245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83" userDrawn="1">
          <p15:clr>
            <a:srgbClr val="FBAE40"/>
          </p15:clr>
        </p15:guide>
        <p15:guide id="2" pos="3896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 Slide_3 columns_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A597281-ABB7-066F-7A10-EF9E1776C1D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Please insert a Headlin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BABAA35-1304-A3EC-A9C3-854E14C4664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Al-Futtaim Template 2025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2D61B8B-D6CA-BCE6-71B4-5C8A439C247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3109594-1B45-46DB-8A0B-416F125317D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7B82DAD-1AFC-2023-BB91-5E7F5BD2C6D0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C71BF3-F123-4AAF-83BB-F93A5B79EF23}" type="datetime1">
              <a:rPr lang="en-US" smtClean="0"/>
              <a:t>21/08/2025</a:t>
            </a:fld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8B4C8F2A-2924-AB97-B224-E2E3A1F3CEA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39750" y="927799"/>
            <a:ext cx="9229725" cy="388937"/>
          </a:xfrm>
        </p:spPr>
        <p:txBody>
          <a:bodyPr>
            <a:noAutofit/>
          </a:bodyPr>
          <a:lstStyle>
            <a:lvl1pPr>
              <a:defRPr sz="28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Please insert a </a:t>
            </a:r>
            <a:r>
              <a:rPr lang="en-US" dirty="0" err="1"/>
              <a:t>Subheadline</a:t>
            </a:r>
            <a:endParaRPr lang="en-US" dirty="0"/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4206CEE7-7789-CB91-EF4D-3B100C9CE898}"/>
              </a:ext>
            </a:extLst>
          </p:cNvPr>
          <p:cNvGrpSpPr/>
          <p:nvPr userDrawn="1"/>
        </p:nvGrpSpPr>
        <p:grpSpPr bwMode="black">
          <a:xfrm>
            <a:off x="9951588" y="538699"/>
            <a:ext cx="1704301" cy="363146"/>
            <a:chOff x="9951588" y="538699"/>
            <a:chExt cx="1704301" cy="363146"/>
          </a:xfrm>
          <a:solidFill>
            <a:schemeClr val="bg1"/>
          </a:solidFill>
        </p:grpSpPr>
        <p:sp>
          <p:nvSpPr>
            <p:cNvPr id="8" name="Freeform: Shape 7">
              <a:extLst>
                <a:ext uri="{FF2B5EF4-FFF2-40B4-BE49-F238E27FC236}">
                  <a16:creationId xmlns:a16="http://schemas.microsoft.com/office/drawing/2014/main" id="{0E5AA8AB-2619-D1A1-94A8-5450D8107697}"/>
                </a:ext>
              </a:extLst>
            </p:cNvPr>
            <p:cNvSpPr/>
            <p:nvPr/>
          </p:nvSpPr>
          <p:spPr bwMode="black">
            <a:xfrm>
              <a:off x="10470746" y="642617"/>
              <a:ext cx="1185143" cy="207458"/>
            </a:xfrm>
            <a:custGeom>
              <a:avLst/>
              <a:gdLst>
                <a:gd name="connsiteX0" fmla="*/ 259606 w 1185143"/>
                <a:gd name="connsiteY0" fmla="*/ 138234 h 207458"/>
                <a:gd name="connsiteX1" fmla="*/ 311539 w 1185143"/>
                <a:gd name="connsiteY1" fmla="*/ 138234 h 207458"/>
                <a:gd name="connsiteX2" fmla="*/ 311539 w 1185143"/>
                <a:gd name="connsiteY2" fmla="*/ 103486 h 207458"/>
                <a:gd name="connsiteX3" fmla="*/ 259606 w 1185143"/>
                <a:gd name="connsiteY3" fmla="*/ 103486 h 207458"/>
                <a:gd name="connsiteX4" fmla="*/ 259606 w 1185143"/>
                <a:gd name="connsiteY4" fmla="*/ 138234 h 207458"/>
                <a:gd name="connsiteX5" fmla="*/ 787196 w 1185143"/>
                <a:gd name="connsiteY5" fmla="*/ 103756 h 207458"/>
                <a:gd name="connsiteX6" fmla="*/ 821943 w 1185143"/>
                <a:gd name="connsiteY6" fmla="*/ 103756 h 207458"/>
                <a:gd name="connsiteX7" fmla="*/ 821943 w 1185143"/>
                <a:gd name="connsiteY7" fmla="*/ 172981 h 207458"/>
                <a:gd name="connsiteX8" fmla="*/ 787196 w 1185143"/>
                <a:gd name="connsiteY8" fmla="*/ 172981 h 207458"/>
                <a:gd name="connsiteX9" fmla="*/ 787196 w 1185143"/>
                <a:gd name="connsiteY9" fmla="*/ 103756 h 207458"/>
                <a:gd name="connsiteX10" fmla="*/ 752718 w 1185143"/>
                <a:gd name="connsiteY10" fmla="*/ 69225 h 207458"/>
                <a:gd name="connsiteX11" fmla="*/ 735318 w 1185143"/>
                <a:gd name="connsiteY11" fmla="*/ 103756 h 207458"/>
                <a:gd name="connsiteX12" fmla="*/ 735318 w 1185143"/>
                <a:gd name="connsiteY12" fmla="*/ 172981 h 207458"/>
                <a:gd name="connsiteX13" fmla="*/ 752718 w 1185143"/>
                <a:gd name="connsiteY13" fmla="*/ 207458 h 207458"/>
                <a:gd name="connsiteX14" fmla="*/ 873821 w 1185143"/>
                <a:gd name="connsiteY14" fmla="*/ 207458 h 207458"/>
                <a:gd name="connsiteX15" fmla="*/ 873821 w 1185143"/>
                <a:gd name="connsiteY15" fmla="*/ 69225 h 207458"/>
                <a:gd name="connsiteX16" fmla="*/ 752718 w 1185143"/>
                <a:gd name="connsiteY16" fmla="*/ 69225 h 207458"/>
                <a:gd name="connsiteX17" fmla="*/ 977577 w 1185143"/>
                <a:gd name="connsiteY17" fmla="*/ 69225 h 207458"/>
                <a:gd name="connsiteX18" fmla="*/ 977577 w 1185143"/>
                <a:gd name="connsiteY18" fmla="*/ 207458 h 207458"/>
                <a:gd name="connsiteX19" fmla="*/ 1029455 w 1185143"/>
                <a:gd name="connsiteY19" fmla="*/ 207458 h 207458"/>
                <a:gd name="connsiteX20" fmla="*/ 1029455 w 1185143"/>
                <a:gd name="connsiteY20" fmla="*/ 103756 h 207458"/>
                <a:gd name="connsiteX21" fmla="*/ 1055394 w 1185143"/>
                <a:gd name="connsiteY21" fmla="*/ 103756 h 207458"/>
                <a:gd name="connsiteX22" fmla="*/ 1055394 w 1185143"/>
                <a:gd name="connsiteY22" fmla="*/ 207458 h 207458"/>
                <a:gd name="connsiteX23" fmla="*/ 1107273 w 1185143"/>
                <a:gd name="connsiteY23" fmla="*/ 207458 h 207458"/>
                <a:gd name="connsiteX24" fmla="*/ 1107273 w 1185143"/>
                <a:gd name="connsiteY24" fmla="*/ 103756 h 207458"/>
                <a:gd name="connsiteX25" fmla="*/ 1133266 w 1185143"/>
                <a:gd name="connsiteY25" fmla="*/ 103756 h 207458"/>
                <a:gd name="connsiteX26" fmla="*/ 1133266 w 1185143"/>
                <a:gd name="connsiteY26" fmla="*/ 207458 h 207458"/>
                <a:gd name="connsiteX27" fmla="*/ 1185144 w 1185143"/>
                <a:gd name="connsiteY27" fmla="*/ 207458 h 207458"/>
                <a:gd name="connsiteX28" fmla="*/ 1185144 w 1185143"/>
                <a:gd name="connsiteY28" fmla="*/ 103756 h 207458"/>
                <a:gd name="connsiteX29" fmla="*/ 1168013 w 1185143"/>
                <a:gd name="connsiteY29" fmla="*/ 69225 h 207458"/>
                <a:gd name="connsiteX30" fmla="*/ 977631 w 1185143"/>
                <a:gd name="connsiteY30" fmla="*/ 69225 h 207458"/>
                <a:gd name="connsiteX31" fmla="*/ 899760 w 1185143"/>
                <a:gd name="connsiteY31" fmla="*/ 207458 h 207458"/>
                <a:gd name="connsiteX32" fmla="*/ 951692 w 1185143"/>
                <a:gd name="connsiteY32" fmla="*/ 207458 h 207458"/>
                <a:gd name="connsiteX33" fmla="*/ 951692 w 1185143"/>
                <a:gd name="connsiteY33" fmla="*/ 69225 h 207458"/>
                <a:gd name="connsiteX34" fmla="*/ 899760 w 1185143"/>
                <a:gd name="connsiteY34" fmla="*/ 69009 h 207458"/>
                <a:gd name="connsiteX35" fmla="*/ 899760 w 1185143"/>
                <a:gd name="connsiteY35" fmla="*/ 207458 h 207458"/>
                <a:gd name="connsiteX36" fmla="*/ 112565 w 1185143"/>
                <a:gd name="connsiteY36" fmla="*/ 34477 h 207458"/>
                <a:gd name="connsiteX37" fmla="*/ 112565 w 1185143"/>
                <a:gd name="connsiteY37" fmla="*/ 103756 h 207458"/>
                <a:gd name="connsiteX38" fmla="*/ 86355 w 1185143"/>
                <a:gd name="connsiteY38" fmla="*/ 103756 h 207458"/>
                <a:gd name="connsiteX39" fmla="*/ 112565 w 1185143"/>
                <a:gd name="connsiteY39" fmla="*/ 34477 h 207458"/>
                <a:gd name="connsiteX40" fmla="*/ 69225 w 1185143"/>
                <a:gd name="connsiteY40" fmla="*/ 0 h 207458"/>
                <a:gd name="connsiteX41" fmla="*/ 0 w 1185143"/>
                <a:gd name="connsiteY41" fmla="*/ 207458 h 207458"/>
                <a:gd name="connsiteX42" fmla="*/ 51878 w 1185143"/>
                <a:gd name="connsiteY42" fmla="*/ 207458 h 207458"/>
                <a:gd name="connsiteX43" fmla="*/ 77817 w 1185143"/>
                <a:gd name="connsiteY43" fmla="*/ 138450 h 207458"/>
                <a:gd name="connsiteX44" fmla="*/ 112565 w 1185143"/>
                <a:gd name="connsiteY44" fmla="*/ 138450 h 207458"/>
                <a:gd name="connsiteX45" fmla="*/ 112565 w 1185143"/>
                <a:gd name="connsiteY45" fmla="*/ 207458 h 207458"/>
                <a:gd name="connsiteX46" fmla="*/ 164443 w 1185143"/>
                <a:gd name="connsiteY46" fmla="*/ 207458 h 207458"/>
                <a:gd name="connsiteX47" fmla="*/ 164443 w 1185143"/>
                <a:gd name="connsiteY47" fmla="*/ 0 h 207458"/>
                <a:gd name="connsiteX48" fmla="*/ 69225 w 1185143"/>
                <a:gd name="connsiteY48" fmla="*/ 0 h 207458"/>
                <a:gd name="connsiteX49" fmla="*/ 190328 w 1185143"/>
                <a:gd name="connsiteY49" fmla="*/ 207458 h 207458"/>
                <a:gd name="connsiteX50" fmla="*/ 242206 w 1185143"/>
                <a:gd name="connsiteY50" fmla="*/ 207458 h 207458"/>
                <a:gd name="connsiteX51" fmla="*/ 242206 w 1185143"/>
                <a:gd name="connsiteY51" fmla="*/ 0 h 207458"/>
                <a:gd name="connsiteX52" fmla="*/ 190328 w 1185143"/>
                <a:gd name="connsiteY52" fmla="*/ 0 h 207458"/>
                <a:gd name="connsiteX53" fmla="*/ 190328 w 1185143"/>
                <a:gd name="connsiteY53" fmla="*/ 207458 h 207458"/>
                <a:gd name="connsiteX54" fmla="*/ 328615 w 1185143"/>
                <a:gd name="connsiteY54" fmla="*/ 0 h 207458"/>
                <a:gd name="connsiteX55" fmla="*/ 328615 w 1185143"/>
                <a:gd name="connsiteY55" fmla="*/ 207458 h 207458"/>
                <a:gd name="connsiteX56" fmla="*/ 380493 w 1185143"/>
                <a:gd name="connsiteY56" fmla="*/ 207458 h 207458"/>
                <a:gd name="connsiteX57" fmla="*/ 380493 w 1185143"/>
                <a:gd name="connsiteY57" fmla="*/ 103756 h 207458"/>
                <a:gd name="connsiteX58" fmla="*/ 415295 w 1185143"/>
                <a:gd name="connsiteY58" fmla="*/ 103756 h 207458"/>
                <a:gd name="connsiteX59" fmla="*/ 415295 w 1185143"/>
                <a:gd name="connsiteY59" fmla="*/ 172981 h 207458"/>
                <a:gd name="connsiteX60" fmla="*/ 432641 w 1185143"/>
                <a:gd name="connsiteY60" fmla="*/ 207458 h 207458"/>
                <a:gd name="connsiteX61" fmla="*/ 553798 w 1185143"/>
                <a:gd name="connsiteY61" fmla="*/ 207458 h 207458"/>
                <a:gd name="connsiteX62" fmla="*/ 553798 w 1185143"/>
                <a:gd name="connsiteY62" fmla="*/ 103756 h 207458"/>
                <a:gd name="connsiteX63" fmla="*/ 579737 w 1185143"/>
                <a:gd name="connsiteY63" fmla="*/ 103756 h 207458"/>
                <a:gd name="connsiteX64" fmla="*/ 579737 w 1185143"/>
                <a:gd name="connsiteY64" fmla="*/ 207458 h 207458"/>
                <a:gd name="connsiteX65" fmla="*/ 631561 w 1185143"/>
                <a:gd name="connsiteY65" fmla="*/ 207458 h 207458"/>
                <a:gd name="connsiteX66" fmla="*/ 631561 w 1185143"/>
                <a:gd name="connsiteY66" fmla="*/ 103756 h 207458"/>
                <a:gd name="connsiteX67" fmla="*/ 657555 w 1185143"/>
                <a:gd name="connsiteY67" fmla="*/ 103756 h 207458"/>
                <a:gd name="connsiteX68" fmla="*/ 657555 w 1185143"/>
                <a:gd name="connsiteY68" fmla="*/ 207458 h 207458"/>
                <a:gd name="connsiteX69" fmla="*/ 709433 w 1185143"/>
                <a:gd name="connsiteY69" fmla="*/ 207458 h 207458"/>
                <a:gd name="connsiteX70" fmla="*/ 709433 w 1185143"/>
                <a:gd name="connsiteY70" fmla="*/ 103756 h 207458"/>
                <a:gd name="connsiteX71" fmla="*/ 735372 w 1185143"/>
                <a:gd name="connsiteY71" fmla="*/ 103756 h 207458"/>
                <a:gd name="connsiteX72" fmla="*/ 735372 w 1185143"/>
                <a:gd name="connsiteY72" fmla="*/ 69225 h 207458"/>
                <a:gd name="connsiteX73" fmla="*/ 709433 w 1185143"/>
                <a:gd name="connsiteY73" fmla="*/ 69225 h 207458"/>
                <a:gd name="connsiteX74" fmla="*/ 709433 w 1185143"/>
                <a:gd name="connsiteY74" fmla="*/ 34477 h 207458"/>
                <a:gd name="connsiteX75" fmla="*/ 657555 w 1185143"/>
                <a:gd name="connsiteY75" fmla="*/ 34477 h 207458"/>
                <a:gd name="connsiteX76" fmla="*/ 657555 w 1185143"/>
                <a:gd name="connsiteY76" fmla="*/ 69225 h 207458"/>
                <a:gd name="connsiteX77" fmla="*/ 631561 w 1185143"/>
                <a:gd name="connsiteY77" fmla="*/ 69225 h 207458"/>
                <a:gd name="connsiteX78" fmla="*/ 631561 w 1185143"/>
                <a:gd name="connsiteY78" fmla="*/ 34477 h 207458"/>
                <a:gd name="connsiteX79" fmla="*/ 579737 w 1185143"/>
                <a:gd name="connsiteY79" fmla="*/ 34477 h 207458"/>
                <a:gd name="connsiteX80" fmla="*/ 579737 w 1185143"/>
                <a:gd name="connsiteY80" fmla="*/ 69225 h 207458"/>
                <a:gd name="connsiteX81" fmla="*/ 501650 w 1185143"/>
                <a:gd name="connsiteY81" fmla="*/ 69225 h 207458"/>
                <a:gd name="connsiteX82" fmla="*/ 501650 w 1185143"/>
                <a:gd name="connsiteY82" fmla="*/ 172927 h 207458"/>
                <a:gd name="connsiteX83" fmla="*/ 467173 w 1185143"/>
                <a:gd name="connsiteY83" fmla="*/ 172927 h 207458"/>
                <a:gd name="connsiteX84" fmla="*/ 467173 w 1185143"/>
                <a:gd name="connsiteY84" fmla="*/ 69225 h 207458"/>
                <a:gd name="connsiteX85" fmla="*/ 380547 w 1185143"/>
                <a:gd name="connsiteY85" fmla="*/ 69225 h 207458"/>
                <a:gd name="connsiteX86" fmla="*/ 380547 w 1185143"/>
                <a:gd name="connsiteY86" fmla="*/ 34477 h 207458"/>
                <a:gd name="connsiteX87" fmla="*/ 467173 w 1185143"/>
                <a:gd name="connsiteY87" fmla="*/ 34477 h 207458"/>
                <a:gd name="connsiteX88" fmla="*/ 467173 w 1185143"/>
                <a:gd name="connsiteY88" fmla="*/ 0 h 207458"/>
                <a:gd name="connsiteX89" fmla="*/ 328669 w 1185143"/>
                <a:gd name="connsiteY89" fmla="*/ 0 h 207458"/>
                <a:gd name="connsiteX90" fmla="*/ 899760 w 1185143"/>
                <a:gd name="connsiteY90" fmla="*/ 34477 h 207458"/>
                <a:gd name="connsiteX91" fmla="*/ 951692 w 1185143"/>
                <a:gd name="connsiteY91" fmla="*/ 34477 h 207458"/>
                <a:gd name="connsiteX92" fmla="*/ 951692 w 1185143"/>
                <a:gd name="connsiteY92" fmla="*/ 0 h 207458"/>
                <a:gd name="connsiteX93" fmla="*/ 899760 w 1185143"/>
                <a:gd name="connsiteY93" fmla="*/ 0 h 207458"/>
                <a:gd name="connsiteX94" fmla="*/ 899760 w 1185143"/>
                <a:gd name="connsiteY94" fmla="*/ 34477 h 2074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</a:cxnLst>
              <a:rect l="l" t="t" r="r" b="b"/>
              <a:pathLst>
                <a:path w="1185143" h="207458">
                  <a:moveTo>
                    <a:pt x="259606" y="138234"/>
                  </a:moveTo>
                  <a:lnTo>
                    <a:pt x="311539" y="138234"/>
                  </a:lnTo>
                  <a:lnTo>
                    <a:pt x="311539" y="103486"/>
                  </a:lnTo>
                  <a:lnTo>
                    <a:pt x="259606" y="103486"/>
                  </a:lnTo>
                  <a:lnTo>
                    <a:pt x="259606" y="138234"/>
                  </a:lnTo>
                  <a:close/>
                  <a:moveTo>
                    <a:pt x="787196" y="103756"/>
                  </a:moveTo>
                  <a:lnTo>
                    <a:pt x="821943" y="103756"/>
                  </a:lnTo>
                  <a:lnTo>
                    <a:pt x="821943" y="172981"/>
                  </a:lnTo>
                  <a:lnTo>
                    <a:pt x="787196" y="172981"/>
                  </a:lnTo>
                  <a:lnTo>
                    <a:pt x="787196" y="103756"/>
                  </a:lnTo>
                  <a:close/>
                  <a:moveTo>
                    <a:pt x="752718" y="69225"/>
                  </a:moveTo>
                  <a:lnTo>
                    <a:pt x="735318" y="103756"/>
                  </a:lnTo>
                  <a:lnTo>
                    <a:pt x="735318" y="172981"/>
                  </a:lnTo>
                  <a:lnTo>
                    <a:pt x="752718" y="207458"/>
                  </a:lnTo>
                  <a:lnTo>
                    <a:pt x="873821" y="207458"/>
                  </a:lnTo>
                  <a:lnTo>
                    <a:pt x="873821" y="69225"/>
                  </a:lnTo>
                  <a:lnTo>
                    <a:pt x="752718" y="69225"/>
                  </a:lnTo>
                  <a:close/>
                  <a:moveTo>
                    <a:pt x="977577" y="69225"/>
                  </a:moveTo>
                  <a:lnTo>
                    <a:pt x="977577" y="207458"/>
                  </a:lnTo>
                  <a:lnTo>
                    <a:pt x="1029455" y="207458"/>
                  </a:lnTo>
                  <a:lnTo>
                    <a:pt x="1029455" y="103756"/>
                  </a:lnTo>
                  <a:lnTo>
                    <a:pt x="1055394" y="103756"/>
                  </a:lnTo>
                  <a:lnTo>
                    <a:pt x="1055394" y="207458"/>
                  </a:lnTo>
                  <a:lnTo>
                    <a:pt x="1107273" y="207458"/>
                  </a:lnTo>
                  <a:lnTo>
                    <a:pt x="1107273" y="103756"/>
                  </a:lnTo>
                  <a:lnTo>
                    <a:pt x="1133266" y="103756"/>
                  </a:lnTo>
                  <a:lnTo>
                    <a:pt x="1133266" y="207458"/>
                  </a:lnTo>
                  <a:lnTo>
                    <a:pt x="1185144" y="207458"/>
                  </a:lnTo>
                  <a:lnTo>
                    <a:pt x="1185144" y="103756"/>
                  </a:lnTo>
                  <a:lnTo>
                    <a:pt x="1168013" y="69225"/>
                  </a:lnTo>
                  <a:lnTo>
                    <a:pt x="977631" y="69225"/>
                  </a:lnTo>
                  <a:close/>
                  <a:moveTo>
                    <a:pt x="899760" y="207458"/>
                  </a:moveTo>
                  <a:lnTo>
                    <a:pt x="951692" y="207458"/>
                  </a:lnTo>
                  <a:lnTo>
                    <a:pt x="951692" y="69225"/>
                  </a:lnTo>
                  <a:lnTo>
                    <a:pt x="899760" y="69009"/>
                  </a:lnTo>
                  <a:lnTo>
                    <a:pt x="899760" y="207458"/>
                  </a:lnTo>
                  <a:close/>
                  <a:moveTo>
                    <a:pt x="112565" y="34477"/>
                  </a:moveTo>
                  <a:lnTo>
                    <a:pt x="112565" y="103756"/>
                  </a:lnTo>
                  <a:lnTo>
                    <a:pt x="86355" y="103756"/>
                  </a:lnTo>
                  <a:lnTo>
                    <a:pt x="112565" y="34477"/>
                  </a:lnTo>
                  <a:close/>
                  <a:moveTo>
                    <a:pt x="69225" y="0"/>
                  </a:moveTo>
                  <a:lnTo>
                    <a:pt x="0" y="207458"/>
                  </a:lnTo>
                  <a:lnTo>
                    <a:pt x="51878" y="207458"/>
                  </a:lnTo>
                  <a:lnTo>
                    <a:pt x="77817" y="138450"/>
                  </a:lnTo>
                  <a:lnTo>
                    <a:pt x="112565" y="138450"/>
                  </a:lnTo>
                  <a:lnTo>
                    <a:pt x="112565" y="207458"/>
                  </a:lnTo>
                  <a:lnTo>
                    <a:pt x="164443" y="207458"/>
                  </a:lnTo>
                  <a:lnTo>
                    <a:pt x="164443" y="0"/>
                  </a:lnTo>
                  <a:lnTo>
                    <a:pt x="69225" y="0"/>
                  </a:lnTo>
                  <a:close/>
                  <a:moveTo>
                    <a:pt x="190328" y="207458"/>
                  </a:moveTo>
                  <a:lnTo>
                    <a:pt x="242206" y="207458"/>
                  </a:lnTo>
                  <a:lnTo>
                    <a:pt x="242206" y="0"/>
                  </a:lnTo>
                  <a:lnTo>
                    <a:pt x="190328" y="0"/>
                  </a:lnTo>
                  <a:lnTo>
                    <a:pt x="190328" y="207458"/>
                  </a:lnTo>
                  <a:close/>
                  <a:moveTo>
                    <a:pt x="328615" y="0"/>
                  </a:moveTo>
                  <a:lnTo>
                    <a:pt x="328615" y="207458"/>
                  </a:lnTo>
                  <a:lnTo>
                    <a:pt x="380493" y="207458"/>
                  </a:lnTo>
                  <a:lnTo>
                    <a:pt x="380493" y="103756"/>
                  </a:lnTo>
                  <a:lnTo>
                    <a:pt x="415295" y="103756"/>
                  </a:lnTo>
                  <a:lnTo>
                    <a:pt x="415295" y="172981"/>
                  </a:lnTo>
                  <a:lnTo>
                    <a:pt x="432641" y="207458"/>
                  </a:lnTo>
                  <a:lnTo>
                    <a:pt x="553798" y="207458"/>
                  </a:lnTo>
                  <a:lnTo>
                    <a:pt x="553798" y="103756"/>
                  </a:lnTo>
                  <a:lnTo>
                    <a:pt x="579737" y="103756"/>
                  </a:lnTo>
                  <a:lnTo>
                    <a:pt x="579737" y="207458"/>
                  </a:lnTo>
                  <a:lnTo>
                    <a:pt x="631561" y="207458"/>
                  </a:lnTo>
                  <a:lnTo>
                    <a:pt x="631561" y="103756"/>
                  </a:lnTo>
                  <a:lnTo>
                    <a:pt x="657555" y="103756"/>
                  </a:lnTo>
                  <a:lnTo>
                    <a:pt x="657555" y="207458"/>
                  </a:lnTo>
                  <a:lnTo>
                    <a:pt x="709433" y="207458"/>
                  </a:lnTo>
                  <a:lnTo>
                    <a:pt x="709433" y="103756"/>
                  </a:lnTo>
                  <a:lnTo>
                    <a:pt x="735372" y="103756"/>
                  </a:lnTo>
                  <a:lnTo>
                    <a:pt x="735372" y="69225"/>
                  </a:lnTo>
                  <a:lnTo>
                    <a:pt x="709433" y="69225"/>
                  </a:lnTo>
                  <a:lnTo>
                    <a:pt x="709433" y="34477"/>
                  </a:lnTo>
                  <a:lnTo>
                    <a:pt x="657555" y="34477"/>
                  </a:lnTo>
                  <a:lnTo>
                    <a:pt x="657555" y="69225"/>
                  </a:lnTo>
                  <a:lnTo>
                    <a:pt x="631561" y="69225"/>
                  </a:lnTo>
                  <a:lnTo>
                    <a:pt x="631561" y="34477"/>
                  </a:lnTo>
                  <a:lnTo>
                    <a:pt x="579737" y="34477"/>
                  </a:lnTo>
                  <a:lnTo>
                    <a:pt x="579737" y="69225"/>
                  </a:lnTo>
                  <a:lnTo>
                    <a:pt x="501650" y="69225"/>
                  </a:lnTo>
                  <a:lnTo>
                    <a:pt x="501650" y="172927"/>
                  </a:lnTo>
                  <a:lnTo>
                    <a:pt x="467173" y="172927"/>
                  </a:lnTo>
                  <a:lnTo>
                    <a:pt x="467173" y="69225"/>
                  </a:lnTo>
                  <a:lnTo>
                    <a:pt x="380547" y="69225"/>
                  </a:lnTo>
                  <a:lnTo>
                    <a:pt x="380547" y="34477"/>
                  </a:lnTo>
                  <a:lnTo>
                    <a:pt x="467173" y="34477"/>
                  </a:lnTo>
                  <a:lnTo>
                    <a:pt x="467173" y="0"/>
                  </a:lnTo>
                  <a:lnTo>
                    <a:pt x="328669" y="0"/>
                  </a:lnTo>
                  <a:close/>
                  <a:moveTo>
                    <a:pt x="899760" y="34477"/>
                  </a:moveTo>
                  <a:lnTo>
                    <a:pt x="951692" y="34477"/>
                  </a:lnTo>
                  <a:lnTo>
                    <a:pt x="951692" y="0"/>
                  </a:lnTo>
                  <a:lnTo>
                    <a:pt x="899760" y="0"/>
                  </a:lnTo>
                  <a:lnTo>
                    <a:pt x="899760" y="34477"/>
                  </a:lnTo>
                  <a:close/>
                </a:path>
              </a:pathLst>
            </a:custGeom>
            <a:grpFill/>
            <a:ln w="538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" name="Freeform: Shape 8">
              <a:extLst>
                <a:ext uri="{FF2B5EF4-FFF2-40B4-BE49-F238E27FC236}">
                  <a16:creationId xmlns:a16="http://schemas.microsoft.com/office/drawing/2014/main" id="{4B16180B-1850-72D4-B81C-33C05B2769E8}"/>
                </a:ext>
              </a:extLst>
            </p:cNvPr>
            <p:cNvSpPr/>
            <p:nvPr/>
          </p:nvSpPr>
          <p:spPr bwMode="black">
            <a:xfrm>
              <a:off x="9951588" y="538699"/>
              <a:ext cx="415348" cy="363146"/>
            </a:xfrm>
            <a:custGeom>
              <a:avLst/>
              <a:gdLst>
                <a:gd name="connsiteX0" fmla="*/ 156175 w 415348"/>
                <a:gd name="connsiteY0" fmla="*/ 155526 h 363146"/>
                <a:gd name="connsiteX1" fmla="*/ 207782 w 415348"/>
                <a:gd name="connsiteY1" fmla="*/ 103864 h 363146"/>
                <a:gd name="connsiteX2" fmla="*/ 259390 w 415348"/>
                <a:gd name="connsiteY2" fmla="*/ 155526 h 363146"/>
                <a:gd name="connsiteX3" fmla="*/ 207782 w 415348"/>
                <a:gd name="connsiteY3" fmla="*/ 207296 h 363146"/>
                <a:gd name="connsiteX4" fmla="*/ 156175 w 415348"/>
                <a:gd name="connsiteY4" fmla="*/ 155526 h 363146"/>
                <a:gd name="connsiteX5" fmla="*/ 207782 w 415348"/>
                <a:gd name="connsiteY5" fmla="*/ 0 h 363146"/>
                <a:gd name="connsiteX6" fmla="*/ 0 w 415348"/>
                <a:gd name="connsiteY6" fmla="*/ 207350 h 363146"/>
                <a:gd name="connsiteX7" fmla="*/ 51986 w 415348"/>
                <a:gd name="connsiteY7" fmla="*/ 259228 h 363146"/>
                <a:gd name="connsiteX8" fmla="*/ 104134 w 415348"/>
                <a:gd name="connsiteY8" fmla="*/ 207512 h 363146"/>
                <a:gd name="connsiteX9" fmla="*/ 155904 w 415348"/>
                <a:gd name="connsiteY9" fmla="*/ 259499 h 363146"/>
                <a:gd name="connsiteX10" fmla="*/ 103810 w 415348"/>
                <a:gd name="connsiteY10" fmla="*/ 311593 h 363146"/>
                <a:gd name="connsiteX11" fmla="*/ 155904 w 415348"/>
                <a:gd name="connsiteY11" fmla="*/ 363147 h 363146"/>
                <a:gd name="connsiteX12" fmla="*/ 206810 w 415348"/>
                <a:gd name="connsiteY12" fmla="*/ 311431 h 363146"/>
                <a:gd name="connsiteX13" fmla="*/ 259823 w 415348"/>
                <a:gd name="connsiteY13" fmla="*/ 363147 h 363146"/>
                <a:gd name="connsiteX14" fmla="*/ 311485 w 415348"/>
                <a:gd name="connsiteY14" fmla="*/ 311431 h 363146"/>
                <a:gd name="connsiteX15" fmla="*/ 259823 w 415348"/>
                <a:gd name="connsiteY15" fmla="*/ 259769 h 363146"/>
                <a:gd name="connsiteX16" fmla="*/ 312025 w 415348"/>
                <a:gd name="connsiteY16" fmla="*/ 207512 h 363146"/>
                <a:gd name="connsiteX17" fmla="*/ 363633 w 415348"/>
                <a:gd name="connsiteY17" fmla="*/ 259228 h 363146"/>
                <a:gd name="connsiteX18" fmla="*/ 415349 w 415348"/>
                <a:gd name="connsiteY18" fmla="*/ 207512 h 363146"/>
                <a:gd name="connsiteX19" fmla="*/ 207782 w 415348"/>
                <a:gd name="connsiteY19" fmla="*/ 0 h 3631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415348" h="363146">
                  <a:moveTo>
                    <a:pt x="156175" y="155526"/>
                  </a:moveTo>
                  <a:lnTo>
                    <a:pt x="207782" y="103864"/>
                  </a:lnTo>
                  <a:lnTo>
                    <a:pt x="259390" y="155526"/>
                  </a:lnTo>
                  <a:lnTo>
                    <a:pt x="207782" y="207296"/>
                  </a:lnTo>
                  <a:lnTo>
                    <a:pt x="156175" y="155526"/>
                  </a:lnTo>
                  <a:close/>
                  <a:moveTo>
                    <a:pt x="207782" y="0"/>
                  </a:moveTo>
                  <a:lnTo>
                    <a:pt x="0" y="207350"/>
                  </a:lnTo>
                  <a:lnTo>
                    <a:pt x="51986" y="259228"/>
                  </a:lnTo>
                  <a:lnTo>
                    <a:pt x="104134" y="207512"/>
                  </a:lnTo>
                  <a:lnTo>
                    <a:pt x="155904" y="259499"/>
                  </a:lnTo>
                  <a:lnTo>
                    <a:pt x="103810" y="311593"/>
                  </a:lnTo>
                  <a:lnTo>
                    <a:pt x="155904" y="363147"/>
                  </a:lnTo>
                  <a:lnTo>
                    <a:pt x="206810" y="311431"/>
                  </a:lnTo>
                  <a:lnTo>
                    <a:pt x="259823" y="363147"/>
                  </a:lnTo>
                  <a:lnTo>
                    <a:pt x="311485" y="311431"/>
                  </a:lnTo>
                  <a:lnTo>
                    <a:pt x="259823" y="259769"/>
                  </a:lnTo>
                  <a:lnTo>
                    <a:pt x="312025" y="207512"/>
                  </a:lnTo>
                  <a:lnTo>
                    <a:pt x="363633" y="259228"/>
                  </a:lnTo>
                  <a:lnTo>
                    <a:pt x="415349" y="207512"/>
                  </a:lnTo>
                  <a:lnTo>
                    <a:pt x="207782" y="0"/>
                  </a:lnTo>
                  <a:close/>
                </a:path>
              </a:pathLst>
            </a:custGeom>
            <a:solidFill>
              <a:schemeClr val="accent2"/>
            </a:solidFill>
            <a:ln w="538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6CFB16CB-922F-1EB5-FF04-BBE2E08EDD8E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540001" y="1618719"/>
            <a:ext cx="3583999" cy="4427537"/>
          </a:xfrm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Please insert content</a:t>
            </a:r>
          </a:p>
        </p:txBody>
      </p:sp>
      <p:sp>
        <p:nvSpPr>
          <p:cNvPr id="14" name="Content Placeholder 13">
            <a:extLst>
              <a:ext uri="{FF2B5EF4-FFF2-40B4-BE49-F238E27FC236}">
                <a16:creationId xmlns:a16="http://schemas.microsoft.com/office/drawing/2014/main" id="{3F82E096-CAC5-9D80-FF2E-17A527AF04E3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304000" y="1617662"/>
            <a:ext cx="3583999" cy="4427537"/>
          </a:xfrm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Please insert content</a:t>
            </a:r>
          </a:p>
        </p:txBody>
      </p:sp>
      <p:sp>
        <p:nvSpPr>
          <p:cNvPr id="16" name="Content Placeholder 15">
            <a:extLst>
              <a:ext uri="{FF2B5EF4-FFF2-40B4-BE49-F238E27FC236}">
                <a16:creationId xmlns:a16="http://schemas.microsoft.com/office/drawing/2014/main" id="{A3F3FFBF-34A4-2F7A-2AB9-F5DEAD2A2CBB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8068000" y="1617662"/>
            <a:ext cx="3583999" cy="4427537"/>
          </a:xfrm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Please insert content</a:t>
            </a:r>
          </a:p>
        </p:txBody>
      </p:sp>
    </p:spTree>
    <p:extLst>
      <p:ext uri="{BB962C8B-B14F-4D97-AF65-F5344CB8AC3E}">
        <p14:creationId xmlns:p14="http://schemas.microsoft.com/office/powerpoint/2010/main" val="9331743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968" userDrawn="1">
          <p15:clr>
            <a:srgbClr val="FBAE40"/>
          </p15:clr>
        </p15:guide>
        <p15:guide id="2" pos="2597" userDrawn="1">
          <p15:clr>
            <a:srgbClr val="FBAE40"/>
          </p15:clr>
        </p15:guide>
        <p15:guide id="3" pos="2709" userDrawn="1">
          <p15:clr>
            <a:srgbClr val="FBAE40"/>
          </p15:clr>
        </p15:guide>
        <p15:guide id="4" pos="5083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_3 columns_l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A597281-ABB7-066F-7A10-EF9E1776C1D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ease insert a Headlin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BABAA35-1304-A3EC-A9C3-854E14C4664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Al-Futtaim Template 2025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2D61B8B-D6CA-BCE6-71B4-5C8A439C247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83109594-1B45-46DB-8A0B-416F125317D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7B82DAD-1AFC-2023-BB91-5E7F5BD2C6D0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D498440A-539A-4290-B124-41EDBD5E62EB}" type="datetime1">
              <a:rPr lang="en-US" smtClean="0"/>
              <a:t>21/08/2025</a:t>
            </a:fld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8B4C8F2A-2924-AB97-B224-E2E3A1F3CEA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39750" y="927799"/>
            <a:ext cx="9229725" cy="388937"/>
          </a:xfrm>
        </p:spPr>
        <p:txBody>
          <a:bodyPr>
            <a:noAutofit/>
          </a:bodyPr>
          <a:lstStyle>
            <a:lvl1pPr>
              <a:defRPr sz="28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Please insert a </a:t>
            </a:r>
            <a:r>
              <a:rPr lang="en-US" dirty="0" err="1"/>
              <a:t>Subheadline</a:t>
            </a:r>
            <a:endParaRPr lang="en-US" dirty="0"/>
          </a:p>
        </p:txBody>
      </p:sp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6CFB16CB-922F-1EB5-FF04-BBE2E08EDD8E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540001" y="1618719"/>
            <a:ext cx="3583999" cy="4427537"/>
          </a:xfrm>
        </p:spPr>
        <p:txBody>
          <a:bodyPr>
            <a:noAutofit/>
          </a:bodyPr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Please insert content</a:t>
            </a:r>
          </a:p>
        </p:txBody>
      </p:sp>
      <p:sp>
        <p:nvSpPr>
          <p:cNvPr id="14" name="Content Placeholder 13">
            <a:extLst>
              <a:ext uri="{FF2B5EF4-FFF2-40B4-BE49-F238E27FC236}">
                <a16:creationId xmlns:a16="http://schemas.microsoft.com/office/drawing/2014/main" id="{3F82E096-CAC5-9D80-FF2E-17A527AF04E3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304000" y="1617662"/>
            <a:ext cx="3583999" cy="4427537"/>
          </a:xfrm>
        </p:spPr>
        <p:txBody>
          <a:bodyPr>
            <a:noAutofit/>
          </a:bodyPr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Please insert content</a:t>
            </a:r>
          </a:p>
        </p:txBody>
      </p:sp>
      <p:sp>
        <p:nvSpPr>
          <p:cNvPr id="16" name="Content Placeholder 15">
            <a:extLst>
              <a:ext uri="{FF2B5EF4-FFF2-40B4-BE49-F238E27FC236}">
                <a16:creationId xmlns:a16="http://schemas.microsoft.com/office/drawing/2014/main" id="{A3F3FFBF-34A4-2F7A-2AB9-F5DEAD2A2CBB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8068000" y="1617662"/>
            <a:ext cx="3583999" cy="4427537"/>
          </a:xfrm>
        </p:spPr>
        <p:txBody>
          <a:bodyPr>
            <a:noAutofit/>
          </a:bodyPr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Please insert content</a:t>
            </a:r>
          </a:p>
        </p:txBody>
      </p:sp>
    </p:spTree>
    <p:extLst>
      <p:ext uri="{BB962C8B-B14F-4D97-AF65-F5344CB8AC3E}">
        <p14:creationId xmlns:p14="http://schemas.microsoft.com/office/powerpoint/2010/main" val="2843425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968" userDrawn="1">
          <p15:clr>
            <a:srgbClr val="FBAE40"/>
          </p15:clr>
        </p15:guide>
        <p15:guide id="2" pos="2597" userDrawn="1">
          <p15:clr>
            <a:srgbClr val="FBAE40"/>
          </p15:clr>
        </p15:guide>
        <p15:guide id="3" pos="2709" userDrawn="1">
          <p15:clr>
            <a:srgbClr val="FBAE40"/>
          </p15:clr>
        </p15:guide>
        <p15:guide id="4" pos="5083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 Slide_4 columns_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A597281-ABB7-066F-7A10-EF9E1776C1D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Please insert a Headlin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BABAA35-1304-A3EC-A9C3-854E14C4664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Al-Futtaim Template 2025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2D61B8B-D6CA-BCE6-71B4-5C8A439C247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3109594-1B45-46DB-8A0B-416F125317D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7B82DAD-1AFC-2023-BB91-5E7F5BD2C6D0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D733728-EAE4-41B8-8260-D1B59E6D9709}" type="datetime1">
              <a:rPr lang="en-US" smtClean="0"/>
              <a:t>21/08/2025</a:t>
            </a:fld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8B4C8F2A-2924-AB97-B224-E2E3A1F3CEA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39750" y="927799"/>
            <a:ext cx="9229725" cy="388937"/>
          </a:xfrm>
        </p:spPr>
        <p:txBody>
          <a:bodyPr>
            <a:noAutofit/>
          </a:bodyPr>
          <a:lstStyle>
            <a:lvl1pPr>
              <a:defRPr sz="28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Please insert a </a:t>
            </a:r>
            <a:r>
              <a:rPr lang="en-US" dirty="0" err="1"/>
              <a:t>Subheadline</a:t>
            </a:r>
            <a:endParaRPr lang="en-US" dirty="0"/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4206CEE7-7789-CB91-EF4D-3B100C9CE898}"/>
              </a:ext>
            </a:extLst>
          </p:cNvPr>
          <p:cNvGrpSpPr/>
          <p:nvPr userDrawn="1"/>
        </p:nvGrpSpPr>
        <p:grpSpPr bwMode="black">
          <a:xfrm>
            <a:off x="9951588" y="538699"/>
            <a:ext cx="1704301" cy="363146"/>
            <a:chOff x="9951588" y="538699"/>
            <a:chExt cx="1704301" cy="363146"/>
          </a:xfrm>
          <a:solidFill>
            <a:schemeClr val="bg1"/>
          </a:solidFill>
        </p:grpSpPr>
        <p:sp>
          <p:nvSpPr>
            <p:cNvPr id="8" name="Freeform: Shape 7">
              <a:extLst>
                <a:ext uri="{FF2B5EF4-FFF2-40B4-BE49-F238E27FC236}">
                  <a16:creationId xmlns:a16="http://schemas.microsoft.com/office/drawing/2014/main" id="{0E5AA8AB-2619-D1A1-94A8-5450D8107697}"/>
                </a:ext>
              </a:extLst>
            </p:cNvPr>
            <p:cNvSpPr/>
            <p:nvPr/>
          </p:nvSpPr>
          <p:spPr bwMode="black">
            <a:xfrm>
              <a:off x="10470746" y="642617"/>
              <a:ext cx="1185143" cy="207458"/>
            </a:xfrm>
            <a:custGeom>
              <a:avLst/>
              <a:gdLst>
                <a:gd name="connsiteX0" fmla="*/ 259606 w 1185143"/>
                <a:gd name="connsiteY0" fmla="*/ 138234 h 207458"/>
                <a:gd name="connsiteX1" fmla="*/ 311539 w 1185143"/>
                <a:gd name="connsiteY1" fmla="*/ 138234 h 207458"/>
                <a:gd name="connsiteX2" fmla="*/ 311539 w 1185143"/>
                <a:gd name="connsiteY2" fmla="*/ 103486 h 207458"/>
                <a:gd name="connsiteX3" fmla="*/ 259606 w 1185143"/>
                <a:gd name="connsiteY3" fmla="*/ 103486 h 207458"/>
                <a:gd name="connsiteX4" fmla="*/ 259606 w 1185143"/>
                <a:gd name="connsiteY4" fmla="*/ 138234 h 207458"/>
                <a:gd name="connsiteX5" fmla="*/ 787196 w 1185143"/>
                <a:gd name="connsiteY5" fmla="*/ 103756 h 207458"/>
                <a:gd name="connsiteX6" fmla="*/ 821943 w 1185143"/>
                <a:gd name="connsiteY6" fmla="*/ 103756 h 207458"/>
                <a:gd name="connsiteX7" fmla="*/ 821943 w 1185143"/>
                <a:gd name="connsiteY7" fmla="*/ 172981 h 207458"/>
                <a:gd name="connsiteX8" fmla="*/ 787196 w 1185143"/>
                <a:gd name="connsiteY8" fmla="*/ 172981 h 207458"/>
                <a:gd name="connsiteX9" fmla="*/ 787196 w 1185143"/>
                <a:gd name="connsiteY9" fmla="*/ 103756 h 207458"/>
                <a:gd name="connsiteX10" fmla="*/ 752718 w 1185143"/>
                <a:gd name="connsiteY10" fmla="*/ 69225 h 207458"/>
                <a:gd name="connsiteX11" fmla="*/ 735318 w 1185143"/>
                <a:gd name="connsiteY11" fmla="*/ 103756 h 207458"/>
                <a:gd name="connsiteX12" fmla="*/ 735318 w 1185143"/>
                <a:gd name="connsiteY12" fmla="*/ 172981 h 207458"/>
                <a:gd name="connsiteX13" fmla="*/ 752718 w 1185143"/>
                <a:gd name="connsiteY13" fmla="*/ 207458 h 207458"/>
                <a:gd name="connsiteX14" fmla="*/ 873821 w 1185143"/>
                <a:gd name="connsiteY14" fmla="*/ 207458 h 207458"/>
                <a:gd name="connsiteX15" fmla="*/ 873821 w 1185143"/>
                <a:gd name="connsiteY15" fmla="*/ 69225 h 207458"/>
                <a:gd name="connsiteX16" fmla="*/ 752718 w 1185143"/>
                <a:gd name="connsiteY16" fmla="*/ 69225 h 207458"/>
                <a:gd name="connsiteX17" fmla="*/ 977577 w 1185143"/>
                <a:gd name="connsiteY17" fmla="*/ 69225 h 207458"/>
                <a:gd name="connsiteX18" fmla="*/ 977577 w 1185143"/>
                <a:gd name="connsiteY18" fmla="*/ 207458 h 207458"/>
                <a:gd name="connsiteX19" fmla="*/ 1029455 w 1185143"/>
                <a:gd name="connsiteY19" fmla="*/ 207458 h 207458"/>
                <a:gd name="connsiteX20" fmla="*/ 1029455 w 1185143"/>
                <a:gd name="connsiteY20" fmla="*/ 103756 h 207458"/>
                <a:gd name="connsiteX21" fmla="*/ 1055394 w 1185143"/>
                <a:gd name="connsiteY21" fmla="*/ 103756 h 207458"/>
                <a:gd name="connsiteX22" fmla="*/ 1055394 w 1185143"/>
                <a:gd name="connsiteY22" fmla="*/ 207458 h 207458"/>
                <a:gd name="connsiteX23" fmla="*/ 1107273 w 1185143"/>
                <a:gd name="connsiteY23" fmla="*/ 207458 h 207458"/>
                <a:gd name="connsiteX24" fmla="*/ 1107273 w 1185143"/>
                <a:gd name="connsiteY24" fmla="*/ 103756 h 207458"/>
                <a:gd name="connsiteX25" fmla="*/ 1133266 w 1185143"/>
                <a:gd name="connsiteY25" fmla="*/ 103756 h 207458"/>
                <a:gd name="connsiteX26" fmla="*/ 1133266 w 1185143"/>
                <a:gd name="connsiteY26" fmla="*/ 207458 h 207458"/>
                <a:gd name="connsiteX27" fmla="*/ 1185144 w 1185143"/>
                <a:gd name="connsiteY27" fmla="*/ 207458 h 207458"/>
                <a:gd name="connsiteX28" fmla="*/ 1185144 w 1185143"/>
                <a:gd name="connsiteY28" fmla="*/ 103756 h 207458"/>
                <a:gd name="connsiteX29" fmla="*/ 1168013 w 1185143"/>
                <a:gd name="connsiteY29" fmla="*/ 69225 h 207458"/>
                <a:gd name="connsiteX30" fmla="*/ 977631 w 1185143"/>
                <a:gd name="connsiteY30" fmla="*/ 69225 h 207458"/>
                <a:gd name="connsiteX31" fmla="*/ 899760 w 1185143"/>
                <a:gd name="connsiteY31" fmla="*/ 207458 h 207458"/>
                <a:gd name="connsiteX32" fmla="*/ 951692 w 1185143"/>
                <a:gd name="connsiteY32" fmla="*/ 207458 h 207458"/>
                <a:gd name="connsiteX33" fmla="*/ 951692 w 1185143"/>
                <a:gd name="connsiteY33" fmla="*/ 69225 h 207458"/>
                <a:gd name="connsiteX34" fmla="*/ 899760 w 1185143"/>
                <a:gd name="connsiteY34" fmla="*/ 69009 h 207458"/>
                <a:gd name="connsiteX35" fmla="*/ 899760 w 1185143"/>
                <a:gd name="connsiteY35" fmla="*/ 207458 h 207458"/>
                <a:gd name="connsiteX36" fmla="*/ 112565 w 1185143"/>
                <a:gd name="connsiteY36" fmla="*/ 34477 h 207458"/>
                <a:gd name="connsiteX37" fmla="*/ 112565 w 1185143"/>
                <a:gd name="connsiteY37" fmla="*/ 103756 h 207458"/>
                <a:gd name="connsiteX38" fmla="*/ 86355 w 1185143"/>
                <a:gd name="connsiteY38" fmla="*/ 103756 h 207458"/>
                <a:gd name="connsiteX39" fmla="*/ 112565 w 1185143"/>
                <a:gd name="connsiteY39" fmla="*/ 34477 h 207458"/>
                <a:gd name="connsiteX40" fmla="*/ 69225 w 1185143"/>
                <a:gd name="connsiteY40" fmla="*/ 0 h 207458"/>
                <a:gd name="connsiteX41" fmla="*/ 0 w 1185143"/>
                <a:gd name="connsiteY41" fmla="*/ 207458 h 207458"/>
                <a:gd name="connsiteX42" fmla="*/ 51878 w 1185143"/>
                <a:gd name="connsiteY42" fmla="*/ 207458 h 207458"/>
                <a:gd name="connsiteX43" fmla="*/ 77817 w 1185143"/>
                <a:gd name="connsiteY43" fmla="*/ 138450 h 207458"/>
                <a:gd name="connsiteX44" fmla="*/ 112565 w 1185143"/>
                <a:gd name="connsiteY44" fmla="*/ 138450 h 207458"/>
                <a:gd name="connsiteX45" fmla="*/ 112565 w 1185143"/>
                <a:gd name="connsiteY45" fmla="*/ 207458 h 207458"/>
                <a:gd name="connsiteX46" fmla="*/ 164443 w 1185143"/>
                <a:gd name="connsiteY46" fmla="*/ 207458 h 207458"/>
                <a:gd name="connsiteX47" fmla="*/ 164443 w 1185143"/>
                <a:gd name="connsiteY47" fmla="*/ 0 h 207458"/>
                <a:gd name="connsiteX48" fmla="*/ 69225 w 1185143"/>
                <a:gd name="connsiteY48" fmla="*/ 0 h 207458"/>
                <a:gd name="connsiteX49" fmla="*/ 190328 w 1185143"/>
                <a:gd name="connsiteY49" fmla="*/ 207458 h 207458"/>
                <a:gd name="connsiteX50" fmla="*/ 242206 w 1185143"/>
                <a:gd name="connsiteY50" fmla="*/ 207458 h 207458"/>
                <a:gd name="connsiteX51" fmla="*/ 242206 w 1185143"/>
                <a:gd name="connsiteY51" fmla="*/ 0 h 207458"/>
                <a:gd name="connsiteX52" fmla="*/ 190328 w 1185143"/>
                <a:gd name="connsiteY52" fmla="*/ 0 h 207458"/>
                <a:gd name="connsiteX53" fmla="*/ 190328 w 1185143"/>
                <a:gd name="connsiteY53" fmla="*/ 207458 h 207458"/>
                <a:gd name="connsiteX54" fmla="*/ 328615 w 1185143"/>
                <a:gd name="connsiteY54" fmla="*/ 0 h 207458"/>
                <a:gd name="connsiteX55" fmla="*/ 328615 w 1185143"/>
                <a:gd name="connsiteY55" fmla="*/ 207458 h 207458"/>
                <a:gd name="connsiteX56" fmla="*/ 380493 w 1185143"/>
                <a:gd name="connsiteY56" fmla="*/ 207458 h 207458"/>
                <a:gd name="connsiteX57" fmla="*/ 380493 w 1185143"/>
                <a:gd name="connsiteY57" fmla="*/ 103756 h 207458"/>
                <a:gd name="connsiteX58" fmla="*/ 415295 w 1185143"/>
                <a:gd name="connsiteY58" fmla="*/ 103756 h 207458"/>
                <a:gd name="connsiteX59" fmla="*/ 415295 w 1185143"/>
                <a:gd name="connsiteY59" fmla="*/ 172981 h 207458"/>
                <a:gd name="connsiteX60" fmla="*/ 432641 w 1185143"/>
                <a:gd name="connsiteY60" fmla="*/ 207458 h 207458"/>
                <a:gd name="connsiteX61" fmla="*/ 553798 w 1185143"/>
                <a:gd name="connsiteY61" fmla="*/ 207458 h 207458"/>
                <a:gd name="connsiteX62" fmla="*/ 553798 w 1185143"/>
                <a:gd name="connsiteY62" fmla="*/ 103756 h 207458"/>
                <a:gd name="connsiteX63" fmla="*/ 579737 w 1185143"/>
                <a:gd name="connsiteY63" fmla="*/ 103756 h 207458"/>
                <a:gd name="connsiteX64" fmla="*/ 579737 w 1185143"/>
                <a:gd name="connsiteY64" fmla="*/ 207458 h 207458"/>
                <a:gd name="connsiteX65" fmla="*/ 631561 w 1185143"/>
                <a:gd name="connsiteY65" fmla="*/ 207458 h 207458"/>
                <a:gd name="connsiteX66" fmla="*/ 631561 w 1185143"/>
                <a:gd name="connsiteY66" fmla="*/ 103756 h 207458"/>
                <a:gd name="connsiteX67" fmla="*/ 657555 w 1185143"/>
                <a:gd name="connsiteY67" fmla="*/ 103756 h 207458"/>
                <a:gd name="connsiteX68" fmla="*/ 657555 w 1185143"/>
                <a:gd name="connsiteY68" fmla="*/ 207458 h 207458"/>
                <a:gd name="connsiteX69" fmla="*/ 709433 w 1185143"/>
                <a:gd name="connsiteY69" fmla="*/ 207458 h 207458"/>
                <a:gd name="connsiteX70" fmla="*/ 709433 w 1185143"/>
                <a:gd name="connsiteY70" fmla="*/ 103756 h 207458"/>
                <a:gd name="connsiteX71" fmla="*/ 735372 w 1185143"/>
                <a:gd name="connsiteY71" fmla="*/ 103756 h 207458"/>
                <a:gd name="connsiteX72" fmla="*/ 735372 w 1185143"/>
                <a:gd name="connsiteY72" fmla="*/ 69225 h 207458"/>
                <a:gd name="connsiteX73" fmla="*/ 709433 w 1185143"/>
                <a:gd name="connsiteY73" fmla="*/ 69225 h 207458"/>
                <a:gd name="connsiteX74" fmla="*/ 709433 w 1185143"/>
                <a:gd name="connsiteY74" fmla="*/ 34477 h 207458"/>
                <a:gd name="connsiteX75" fmla="*/ 657555 w 1185143"/>
                <a:gd name="connsiteY75" fmla="*/ 34477 h 207458"/>
                <a:gd name="connsiteX76" fmla="*/ 657555 w 1185143"/>
                <a:gd name="connsiteY76" fmla="*/ 69225 h 207458"/>
                <a:gd name="connsiteX77" fmla="*/ 631561 w 1185143"/>
                <a:gd name="connsiteY77" fmla="*/ 69225 h 207458"/>
                <a:gd name="connsiteX78" fmla="*/ 631561 w 1185143"/>
                <a:gd name="connsiteY78" fmla="*/ 34477 h 207458"/>
                <a:gd name="connsiteX79" fmla="*/ 579737 w 1185143"/>
                <a:gd name="connsiteY79" fmla="*/ 34477 h 207458"/>
                <a:gd name="connsiteX80" fmla="*/ 579737 w 1185143"/>
                <a:gd name="connsiteY80" fmla="*/ 69225 h 207458"/>
                <a:gd name="connsiteX81" fmla="*/ 501650 w 1185143"/>
                <a:gd name="connsiteY81" fmla="*/ 69225 h 207458"/>
                <a:gd name="connsiteX82" fmla="*/ 501650 w 1185143"/>
                <a:gd name="connsiteY82" fmla="*/ 172927 h 207458"/>
                <a:gd name="connsiteX83" fmla="*/ 467173 w 1185143"/>
                <a:gd name="connsiteY83" fmla="*/ 172927 h 207458"/>
                <a:gd name="connsiteX84" fmla="*/ 467173 w 1185143"/>
                <a:gd name="connsiteY84" fmla="*/ 69225 h 207458"/>
                <a:gd name="connsiteX85" fmla="*/ 380547 w 1185143"/>
                <a:gd name="connsiteY85" fmla="*/ 69225 h 207458"/>
                <a:gd name="connsiteX86" fmla="*/ 380547 w 1185143"/>
                <a:gd name="connsiteY86" fmla="*/ 34477 h 207458"/>
                <a:gd name="connsiteX87" fmla="*/ 467173 w 1185143"/>
                <a:gd name="connsiteY87" fmla="*/ 34477 h 207458"/>
                <a:gd name="connsiteX88" fmla="*/ 467173 w 1185143"/>
                <a:gd name="connsiteY88" fmla="*/ 0 h 207458"/>
                <a:gd name="connsiteX89" fmla="*/ 328669 w 1185143"/>
                <a:gd name="connsiteY89" fmla="*/ 0 h 207458"/>
                <a:gd name="connsiteX90" fmla="*/ 899760 w 1185143"/>
                <a:gd name="connsiteY90" fmla="*/ 34477 h 207458"/>
                <a:gd name="connsiteX91" fmla="*/ 951692 w 1185143"/>
                <a:gd name="connsiteY91" fmla="*/ 34477 h 207458"/>
                <a:gd name="connsiteX92" fmla="*/ 951692 w 1185143"/>
                <a:gd name="connsiteY92" fmla="*/ 0 h 207458"/>
                <a:gd name="connsiteX93" fmla="*/ 899760 w 1185143"/>
                <a:gd name="connsiteY93" fmla="*/ 0 h 207458"/>
                <a:gd name="connsiteX94" fmla="*/ 899760 w 1185143"/>
                <a:gd name="connsiteY94" fmla="*/ 34477 h 2074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</a:cxnLst>
              <a:rect l="l" t="t" r="r" b="b"/>
              <a:pathLst>
                <a:path w="1185143" h="207458">
                  <a:moveTo>
                    <a:pt x="259606" y="138234"/>
                  </a:moveTo>
                  <a:lnTo>
                    <a:pt x="311539" y="138234"/>
                  </a:lnTo>
                  <a:lnTo>
                    <a:pt x="311539" y="103486"/>
                  </a:lnTo>
                  <a:lnTo>
                    <a:pt x="259606" y="103486"/>
                  </a:lnTo>
                  <a:lnTo>
                    <a:pt x="259606" y="138234"/>
                  </a:lnTo>
                  <a:close/>
                  <a:moveTo>
                    <a:pt x="787196" y="103756"/>
                  </a:moveTo>
                  <a:lnTo>
                    <a:pt x="821943" y="103756"/>
                  </a:lnTo>
                  <a:lnTo>
                    <a:pt x="821943" y="172981"/>
                  </a:lnTo>
                  <a:lnTo>
                    <a:pt x="787196" y="172981"/>
                  </a:lnTo>
                  <a:lnTo>
                    <a:pt x="787196" y="103756"/>
                  </a:lnTo>
                  <a:close/>
                  <a:moveTo>
                    <a:pt x="752718" y="69225"/>
                  </a:moveTo>
                  <a:lnTo>
                    <a:pt x="735318" y="103756"/>
                  </a:lnTo>
                  <a:lnTo>
                    <a:pt x="735318" y="172981"/>
                  </a:lnTo>
                  <a:lnTo>
                    <a:pt x="752718" y="207458"/>
                  </a:lnTo>
                  <a:lnTo>
                    <a:pt x="873821" y="207458"/>
                  </a:lnTo>
                  <a:lnTo>
                    <a:pt x="873821" y="69225"/>
                  </a:lnTo>
                  <a:lnTo>
                    <a:pt x="752718" y="69225"/>
                  </a:lnTo>
                  <a:close/>
                  <a:moveTo>
                    <a:pt x="977577" y="69225"/>
                  </a:moveTo>
                  <a:lnTo>
                    <a:pt x="977577" y="207458"/>
                  </a:lnTo>
                  <a:lnTo>
                    <a:pt x="1029455" y="207458"/>
                  </a:lnTo>
                  <a:lnTo>
                    <a:pt x="1029455" y="103756"/>
                  </a:lnTo>
                  <a:lnTo>
                    <a:pt x="1055394" y="103756"/>
                  </a:lnTo>
                  <a:lnTo>
                    <a:pt x="1055394" y="207458"/>
                  </a:lnTo>
                  <a:lnTo>
                    <a:pt x="1107273" y="207458"/>
                  </a:lnTo>
                  <a:lnTo>
                    <a:pt x="1107273" y="103756"/>
                  </a:lnTo>
                  <a:lnTo>
                    <a:pt x="1133266" y="103756"/>
                  </a:lnTo>
                  <a:lnTo>
                    <a:pt x="1133266" y="207458"/>
                  </a:lnTo>
                  <a:lnTo>
                    <a:pt x="1185144" y="207458"/>
                  </a:lnTo>
                  <a:lnTo>
                    <a:pt x="1185144" y="103756"/>
                  </a:lnTo>
                  <a:lnTo>
                    <a:pt x="1168013" y="69225"/>
                  </a:lnTo>
                  <a:lnTo>
                    <a:pt x="977631" y="69225"/>
                  </a:lnTo>
                  <a:close/>
                  <a:moveTo>
                    <a:pt x="899760" y="207458"/>
                  </a:moveTo>
                  <a:lnTo>
                    <a:pt x="951692" y="207458"/>
                  </a:lnTo>
                  <a:lnTo>
                    <a:pt x="951692" y="69225"/>
                  </a:lnTo>
                  <a:lnTo>
                    <a:pt x="899760" y="69009"/>
                  </a:lnTo>
                  <a:lnTo>
                    <a:pt x="899760" y="207458"/>
                  </a:lnTo>
                  <a:close/>
                  <a:moveTo>
                    <a:pt x="112565" y="34477"/>
                  </a:moveTo>
                  <a:lnTo>
                    <a:pt x="112565" y="103756"/>
                  </a:lnTo>
                  <a:lnTo>
                    <a:pt x="86355" y="103756"/>
                  </a:lnTo>
                  <a:lnTo>
                    <a:pt x="112565" y="34477"/>
                  </a:lnTo>
                  <a:close/>
                  <a:moveTo>
                    <a:pt x="69225" y="0"/>
                  </a:moveTo>
                  <a:lnTo>
                    <a:pt x="0" y="207458"/>
                  </a:lnTo>
                  <a:lnTo>
                    <a:pt x="51878" y="207458"/>
                  </a:lnTo>
                  <a:lnTo>
                    <a:pt x="77817" y="138450"/>
                  </a:lnTo>
                  <a:lnTo>
                    <a:pt x="112565" y="138450"/>
                  </a:lnTo>
                  <a:lnTo>
                    <a:pt x="112565" y="207458"/>
                  </a:lnTo>
                  <a:lnTo>
                    <a:pt x="164443" y="207458"/>
                  </a:lnTo>
                  <a:lnTo>
                    <a:pt x="164443" y="0"/>
                  </a:lnTo>
                  <a:lnTo>
                    <a:pt x="69225" y="0"/>
                  </a:lnTo>
                  <a:close/>
                  <a:moveTo>
                    <a:pt x="190328" y="207458"/>
                  </a:moveTo>
                  <a:lnTo>
                    <a:pt x="242206" y="207458"/>
                  </a:lnTo>
                  <a:lnTo>
                    <a:pt x="242206" y="0"/>
                  </a:lnTo>
                  <a:lnTo>
                    <a:pt x="190328" y="0"/>
                  </a:lnTo>
                  <a:lnTo>
                    <a:pt x="190328" y="207458"/>
                  </a:lnTo>
                  <a:close/>
                  <a:moveTo>
                    <a:pt x="328615" y="0"/>
                  </a:moveTo>
                  <a:lnTo>
                    <a:pt x="328615" y="207458"/>
                  </a:lnTo>
                  <a:lnTo>
                    <a:pt x="380493" y="207458"/>
                  </a:lnTo>
                  <a:lnTo>
                    <a:pt x="380493" y="103756"/>
                  </a:lnTo>
                  <a:lnTo>
                    <a:pt x="415295" y="103756"/>
                  </a:lnTo>
                  <a:lnTo>
                    <a:pt x="415295" y="172981"/>
                  </a:lnTo>
                  <a:lnTo>
                    <a:pt x="432641" y="207458"/>
                  </a:lnTo>
                  <a:lnTo>
                    <a:pt x="553798" y="207458"/>
                  </a:lnTo>
                  <a:lnTo>
                    <a:pt x="553798" y="103756"/>
                  </a:lnTo>
                  <a:lnTo>
                    <a:pt x="579737" y="103756"/>
                  </a:lnTo>
                  <a:lnTo>
                    <a:pt x="579737" y="207458"/>
                  </a:lnTo>
                  <a:lnTo>
                    <a:pt x="631561" y="207458"/>
                  </a:lnTo>
                  <a:lnTo>
                    <a:pt x="631561" y="103756"/>
                  </a:lnTo>
                  <a:lnTo>
                    <a:pt x="657555" y="103756"/>
                  </a:lnTo>
                  <a:lnTo>
                    <a:pt x="657555" y="207458"/>
                  </a:lnTo>
                  <a:lnTo>
                    <a:pt x="709433" y="207458"/>
                  </a:lnTo>
                  <a:lnTo>
                    <a:pt x="709433" y="103756"/>
                  </a:lnTo>
                  <a:lnTo>
                    <a:pt x="735372" y="103756"/>
                  </a:lnTo>
                  <a:lnTo>
                    <a:pt x="735372" y="69225"/>
                  </a:lnTo>
                  <a:lnTo>
                    <a:pt x="709433" y="69225"/>
                  </a:lnTo>
                  <a:lnTo>
                    <a:pt x="709433" y="34477"/>
                  </a:lnTo>
                  <a:lnTo>
                    <a:pt x="657555" y="34477"/>
                  </a:lnTo>
                  <a:lnTo>
                    <a:pt x="657555" y="69225"/>
                  </a:lnTo>
                  <a:lnTo>
                    <a:pt x="631561" y="69225"/>
                  </a:lnTo>
                  <a:lnTo>
                    <a:pt x="631561" y="34477"/>
                  </a:lnTo>
                  <a:lnTo>
                    <a:pt x="579737" y="34477"/>
                  </a:lnTo>
                  <a:lnTo>
                    <a:pt x="579737" y="69225"/>
                  </a:lnTo>
                  <a:lnTo>
                    <a:pt x="501650" y="69225"/>
                  </a:lnTo>
                  <a:lnTo>
                    <a:pt x="501650" y="172927"/>
                  </a:lnTo>
                  <a:lnTo>
                    <a:pt x="467173" y="172927"/>
                  </a:lnTo>
                  <a:lnTo>
                    <a:pt x="467173" y="69225"/>
                  </a:lnTo>
                  <a:lnTo>
                    <a:pt x="380547" y="69225"/>
                  </a:lnTo>
                  <a:lnTo>
                    <a:pt x="380547" y="34477"/>
                  </a:lnTo>
                  <a:lnTo>
                    <a:pt x="467173" y="34477"/>
                  </a:lnTo>
                  <a:lnTo>
                    <a:pt x="467173" y="0"/>
                  </a:lnTo>
                  <a:lnTo>
                    <a:pt x="328669" y="0"/>
                  </a:lnTo>
                  <a:close/>
                  <a:moveTo>
                    <a:pt x="899760" y="34477"/>
                  </a:moveTo>
                  <a:lnTo>
                    <a:pt x="951692" y="34477"/>
                  </a:lnTo>
                  <a:lnTo>
                    <a:pt x="951692" y="0"/>
                  </a:lnTo>
                  <a:lnTo>
                    <a:pt x="899760" y="0"/>
                  </a:lnTo>
                  <a:lnTo>
                    <a:pt x="899760" y="34477"/>
                  </a:lnTo>
                  <a:close/>
                </a:path>
              </a:pathLst>
            </a:custGeom>
            <a:grpFill/>
            <a:ln w="538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" name="Freeform: Shape 8">
              <a:extLst>
                <a:ext uri="{FF2B5EF4-FFF2-40B4-BE49-F238E27FC236}">
                  <a16:creationId xmlns:a16="http://schemas.microsoft.com/office/drawing/2014/main" id="{4B16180B-1850-72D4-B81C-33C05B2769E8}"/>
                </a:ext>
              </a:extLst>
            </p:cNvPr>
            <p:cNvSpPr/>
            <p:nvPr/>
          </p:nvSpPr>
          <p:spPr bwMode="black">
            <a:xfrm>
              <a:off x="9951588" y="538699"/>
              <a:ext cx="415348" cy="363146"/>
            </a:xfrm>
            <a:custGeom>
              <a:avLst/>
              <a:gdLst>
                <a:gd name="connsiteX0" fmla="*/ 156175 w 415348"/>
                <a:gd name="connsiteY0" fmla="*/ 155526 h 363146"/>
                <a:gd name="connsiteX1" fmla="*/ 207782 w 415348"/>
                <a:gd name="connsiteY1" fmla="*/ 103864 h 363146"/>
                <a:gd name="connsiteX2" fmla="*/ 259390 w 415348"/>
                <a:gd name="connsiteY2" fmla="*/ 155526 h 363146"/>
                <a:gd name="connsiteX3" fmla="*/ 207782 w 415348"/>
                <a:gd name="connsiteY3" fmla="*/ 207296 h 363146"/>
                <a:gd name="connsiteX4" fmla="*/ 156175 w 415348"/>
                <a:gd name="connsiteY4" fmla="*/ 155526 h 363146"/>
                <a:gd name="connsiteX5" fmla="*/ 207782 w 415348"/>
                <a:gd name="connsiteY5" fmla="*/ 0 h 363146"/>
                <a:gd name="connsiteX6" fmla="*/ 0 w 415348"/>
                <a:gd name="connsiteY6" fmla="*/ 207350 h 363146"/>
                <a:gd name="connsiteX7" fmla="*/ 51986 w 415348"/>
                <a:gd name="connsiteY7" fmla="*/ 259228 h 363146"/>
                <a:gd name="connsiteX8" fmla="*/ 104134 w 415348"/>
                <a:gd name="connsiteY8" fmla="*/ 207512 h 363146"/>
                <a:gd name="connsiteX9" fmla="*/ 155904 w 415348"/>
                <a:gd name="connsiteY9" fmla="*/ 259499 h 363146"/>
                <a:gd name="connsiteX10" fmla="*/ 103810 w 415348"/>
                <a:gd name="connsiteY10" fmla="*/ 311593 h 363146"/>
                <a:gd name="connsiteX11" fmla="*/ 155904 w 415348"/>
                <a:gd name="connsiteY11" fmla="*/ 363147 h 363146"/>
                <a:gd name="connsiteX12" fmla="*/ 206810 w 415348"/>
                <a:gd name="connsiteY12" fmla="*/ 311431 h 363146"/>
                <a:gd name="connsiteX13" fmla="*/ 259823 w 415348"/>
                <a:gd name="connsiteY13" fmla="*/ 363147 h 363146"/>
                <a:gd name="connsiteX14" fmla="*/ 311485 w 415348"/>
                <a:gd name="connsiteY14" fmla="*/ 311431 h 363146"/>
                <a:gd name="connsiteX15" fmla="*/ 259823 w 415348"/>
                <a:gd name="connsiteY15" fmla="*/ 259769 h 363146"/>
                <a:gd name="connsiteX16" fmla="*/ 312025 w 415348"/>
                <a:gd name="connsiteY16" fmla="*/ 207512 h 363146"/>
                <a:gd name="connsiteX17" fmla="*/ 363633 w 415348"/>
                <a:gd name="connsiteY17" fmla="*/ 259228 h 363146"/>
                <a:gd name="connsiteX18" fmla="*/ 415349 w 415348"/>
                <a:gd name="connsiteY18" fmla="*/ 207512 h 363146"/>
                <a:gd name="connsiteX19" fmla="*/ 207782 w 415348"/>
                <a:gd name="connsiteY19" fmla="*/ 0 h 3631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415348" h="363146">
                  <a:moveTo>
                    <a:pt x="156175" y="155526"/>
                  </a:moveTo>
                  <a:lnTo>
                    <a:pt x="207782" y="103864"/>
                  </a:lnTo>
                  <a:lnTo>
                    <a:pt x="259390" y="155526"/>
                  </a:lnTo>
                  <a:lnTo>
                    <a:pt x="207782" y="207296"/>
                  </a:lnTo>
                  <a:lnTo>
                    <a:pt x="156175" y="155526"/>
                  </a:lnTo>
                  <a:close/>
                  <a:moveTo>
                    <a:pt x="207782" y="0"/>
                  </a:moveTo>
                  <a:lnTo>
                    <a:pt x="0" y="207350"/>
                  </a:lnTo>
                  <a:lnTo>
                    <a:pt x="51986" y="259228"/>
                  </a:lnTo>
                  <a:lnTo>
                    <a:pt x="104134" y="207512"/>
                  </a:lnTo>
                  <a:lnTo>
                    <a:pt x="155904" y="259499"/>
                  </a:lnTo>
                  <a:lnTo>
                    <a:pt x="103810" y="311593"/>
                  </a:lnTo>
                  <a:lnTo>
                    <a:pt x="155904" y="363147"/>
                  </a:lnTo>
                  <a:lnTo>
                    <a:pt x="206810" y="311431"/>
                  </a:lnTo>
                  <a:lnTo>
                    <a:pt x="259823" y="363147"/>
                  </a:lnTo>
                  <a:lnTo>
                    <a:pt x="311485" y="311431"/>
                  </a:lnTo>
                  <a:lnTo>
                    <a:pt x="259823" y="259769"/>
                  </a:lnTo>
                  <a:lnTo>
                    <a:pt x="312025" y="207512"/>
                  </a:lnTo>
                  <a:lnTo>
                    <a:pt x="363633" y="259228"/>
                  </a:lnTo>
                  <a:lnTo>
                    <a:pt x="415349" y="207512"/>
                  </a:lnTo>
                  <a:lnTo>
                    <a:pt x="207782" y="0"/>
                  </a:lnTo>
                  <a:close/>
                </a:path>
              </a:pathLst>
            </a:custGeom>
            <a:solidFill>
              <a:schemeClr val="accent2"/>
            </a:solidFill>
            <a:ln w="538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31" name="Picture Placeholder 30">
            <a:extLst>
              <a:ext uri="{FF2B5EF4-FFF2-40B4-BE49-F238E27FC236}">
                <a16:creationId xmlns:a16="http://schemas.microsoft.com/office/drawing/2014/main" id="{7E22FACE-7AEC-83A8-F857-C868512819B7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540001" y="1618720"/>
            <a:ext cx="2643000" cy="1811337"/>
          </a:xfrm>
          <a:solidFill>
            <a:schemeClr val="accent6"/>
          </a:solidFill>
        </p:spPr>
        <p:txBody>
          <a:bodyPr/>
          <a:lstStyle/>
          <a:p>
            <a:r>
              <a:rPr lang="en-US"/>
              <a:t>Click to insert picture</a:t>
            </a:r>
            <a:endParaRPr lang="en-US" dirty="0"/>
          </a:p>
        </p:txBody>
      </p:sp>
      <p:sp>
        <p:nvSpPr>
          <p:cNvPr id="33" name="Text Placeholder 32">
            <a:extLst>
              <a:ext uri="{FF2B5EF4-FFF2-40B4-BE49-F238E27FC236}">
                <a16:creationId xmlns:a16="http://schemas.microsoft.com/office/drawing/2014/main" id="{3003CB9C-0A67-9D2B-1AE5-428CD8681D5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40001" y="3698875"/>
            <a:ext cx="2643000" cy="23463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Please insert content</a:t>
            </a:r>
          </a:p>
        </p:txBody>
      </p:sp>
      <p:sp>
        <p:nvSpPr>
          <p:cNvPr id="35" name="Picture Placeholder 34">
            <a:extLst>
              <a:ext uri="{FF2B5EF4-FFF2-40B4-BE49-F238E27FC236}">
                <a16:creationId xmlns:a16="http://schemas.microsoft.com/office/drawing/2014/main" id="{1748B225-2B7F-B60E-B0CC-A7BEAA45CC41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3363001" y="1618720"/>
            <a:ext cx="2643000" cy="1811337"/>
          </a:xfrm>
          <a:solidFill>
            <a:schemeClr val="accent6"/>
          </a:solidFill>
        </p:spPr>
        <p:txBody>
          <a:bodyPr/>
          <a:lstStyle/>
          <a:p>
            <a:r>
              <a:rPr lang="en-US"/>
              <a:t>Click to insert picture</a:t>
            </a:r>
            <a:endParaRPr lang="en-US" dirty="0"/>
          </a:p>
        </p:txBody>
      </p:sp>
      <p:sp>
        <p:nvSpPr>
          <p:cNvPr id="37" name="Text Placeholder 36">
            <a:extLst>
              <a:ext uri="{FF2B5EF4-FFF2-40B4-BE49-F238E27FC236}">
                <a16:creationId xmlns:a16="http://schemas.microsoft.com/office/drawing/2014/main" id="{5086E601-A09C-165C-4149-296201214EC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363001" y="3698875"/>
            <a:ext cx="2643000" cy="23463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Please insert content</a:t>
            </a:r>
          </a:p>
        </p:txBody>
      </p:sp>
      <p:sp>
        <p:nvSpPr>
          <p:cNvPr id="39" name="Picture Placeholder 38">
            <a:extLst>
              <a:ext uri="{FF2B5EF4-FFF2-40B4-BE49-F238E27FC236}">
                <a16:creationId xmlns:a16="http://schemas.microsoft.com/office/drawing/2014/main" id="{6F23DB56-5D93-8EC8-98CD-5747D530CCBE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6186000" y="1618720"/>
            <a:ext cx="2643000" cy="1811337"/>
          </a:xfrm>
          <a:solidFill>
            <a:schemeClr val="accent6"/>
          </a:solidFill>
        </p:spPr>
        <p:txBody>
          <a:bodyPr/>
          <a:lstStyle/>
          <a:p>
            <a:r>
              <a:rPr lang="en-US"/>
              <a:t>Click to insert picture</a:t>
            </a:r>
            <a:endParaRPr lang="en-US" dirty="0"/>
          </a:p>
        </p:txBody>
      </p:sp>
      <p:sp>
        <p:nvSpPr>
          <p:cNvPr id="41" name="Text Placeholder 40">
            <a:extLst>
              <a:ext uri="{FF2B5EF4-FFF2-40B4-BE49-F238E27FC236}">
                <a16:creationId xmlns:a16="http://schemas.microsoft.com/office/drawing/2014/main" id="{5F3C5BB2-4251-947F-CCD0-813E22121DC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186000" y="3698875"/>
            <a:ext cx="2643000" cy="23463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Please insert content</a:t>
            </a:r>
          </a:p>
        </p:txBody>
      </p:sp>
      <p:sp>
        <p:nvSpPr>
          <p:cNvPr id="43" name="Picture Placeholder 42">
            <a:extLst>
              <a:ext uri="{FF2B5EF4-FFF2-40B4-BE49-F238E27FC236}">
                <a16:creationId xmlns:a16="http://schemas.microsoft.com/office/drawing/2014/main" id="{8175BE1D-8097-4D2E-6730-E9723B233FEF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9009000" y="1618720"/>
            <a:ext cx="2643000" cy="1811337"/>
          </a:xfrm>
          <a:solidFill>
            <a:schemeClr val="accent6"/>
          </a:solidFill>
        </p:spPr>
        <p:txBody>
          <a:bodyPr/>
          <a:lstStyle/>
          <a:p>
            <a:r>
              <a:rPr lang="en-US"/>
              <a:t>Click to insert picture</a:t>
            </a:r>
            <a:endParaRPr lang="en-US" dirty="0"/>
          </a:p>
        </p:txBody>
      </p:sp>
      <p:sp>
        <p:nvSpPr>
          <p:cNvPr id="45" name="Text Placeholder 44">
            <a:extLst>
              <a:ext uri="{FF2B5EF4-FFF2-40B4-BE49-F238E27FC236}">
                <a16:creationId xmlns:a16="http://schemas.microsoft.com/office/drawing/2014/main" id="{F80B8BCB-9B65-4479-D477-7F83BE3E60F5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009000" y="3698875"/>
            <a:ext cx="2643000" cy="23463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Please insert content</a:t>
            </a:r>
          </a:p>
        </p:txBody>
      </p:sp>
    </p:spTree>
    <p:extLst>
      <p:ext uri="{BB962C8B-B14F-4D97-AF65-F5344CB8AC3E}">
        <p14:creationId xmlns:p14="http://schemas.microsoft.com/office/powerpoint/2010/main" val="38404916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005" userDrawn="1">
          <p15:clr>
            <a:srgbClr val="FBAE40"/>
          </p15:clr>
        </p15:guide>
        <p15:guide id="3" pos="3783" userDrawn="1">
          <p15:clr>
            <a:srgbClr val="FBAE40"/>
          </p15:clr>
        </p15:guide>
        <p15:guide id="5" pos="2117" userDrawn="1">
          <p15:clr>
            <a:srgbClr val="FBAE40"/>
          </p15:clr>
        </p15:guide>
        <p15:guide id="6" pos="3896" userDrawn="1">
          <p15:clr>
            <a:srgbClr val="FBAE40"/>
          </p15:clr>
        </p15:guide>
        <p15:guide id="7" pos="5562" userDrawn="1">
          <p15:clr>
            <a:srgbClr val="FBAE40"/>
          </p15:clr>
        </p15:guide>
        <p15:guide id="8" pos="5674" userDrawn="1">
          <p15:clr>
            <a:srgbClr val="FBAE40"/>
          </p15:clr>
        </p15:guide>
        <p15:guide id="9" orient="horz" pos="2160" userDrawn="1">
          <p15:clr>
            <a:srgbClr val="FBAE40"/>
          </p15:clr>
        </p15:guide>
        <p15:guide id="10" orient="horz" pos="2330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_4 columns_l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A597281-ABB7-066F-7A10-EF9E1776C1D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ease insert a Headlin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BABAA35-1304-A3EC-A9C3-854E14C4664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Al-Futtaim Template 2025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2D61B8B-D6CA-BCE6-71B4-5C8A439C247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83109594-1B45-46DB-8A0B-416F125317D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7B82DAD-1AFC-2023-BB91-5E7F5BD2C6D0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94AA0E15-A088-45AE-B4CB-C44003358AF1}" type="datetime1">
              <a:rPr lang="en-US" smtClean="0"/>
              <a:t>21/08/2025</a:t>
            </a:fld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8B4C8F2A-2924-AB97-B224-E2E3A1F3CEA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39750" y="927799"/>
            <a:ext cx="9229725" cy="388937"/>
          </a:xfrm>
        </p:spPr>
        <p:txBody>
          <a:bodyPr>
            <a:noAutofit/>
          </a:bodyPr>
          <a:lstStyle>
            <a:lvl1pPr>
              <a:defRPr sz="28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Please insert a </a:t>
            </a:r>
            <a:r>
              <a:rPr lang="en-US" dirty="0" err="1"/>
              <a:t>Subheadline</a:t>
            </a:r>
            <a:endParaRPr lang="en-US" dirty="0"/>
          </a:p>
        </p:txBody>
      </p:sp>
      <p:sp>
        <p:nvSpPr>
          <p:cNvPr id="31" name="Picture Placeholder 30">
            <a:extLst>
              <a:ext uri="{FF2B5EF4-FFF2-40B4-BE49-F238E27FC236}">
                <a16:creationId xmlns:a16="http://schemas.microsoft.com/office/drawing/2014/main" id="{7E22FACE-7AEC-83A8-F857-C868512819B7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540001" y="1618720"/>
            <a:ext cx="2643000" cy="1811337"/>
          </a:xfrm>
          <a:solidFill>
            <a:schemeClr val="accent4"/>
          </a:solidFill>
        </p:spPr>
        <p:txBody>
          <a:bodyPr>
            <a:noAutofit/>
          </a:bodyPr>
          <a:lstStyle/>
          <a:p>
            <a:r>
              <a:rPr lang="en-US"/>
              <a:t>Click to insert picture</a:t>
            </a:r>
            <a:endParaRPr lang="en-US" dirty="0"/>
          </a:p>
        </p:txBody>
      </p:sp>
      <p:sp>
        <p:nvSpPr>
          <p:cNvPr id="33" name="Text Placeholder 32">
            <a:extLst>
              <a:ext uri="{FF2B5EF4-FFF2-40B4-BE49-F238E27FC236}">
                <a16:creationId xmlns:a16="http://schemas.microsoft.com/office/drawing/2014/main" id="{3003CB9C-0A67-9D2B-1AE5-428CD8681D5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40001" y="3698875"/>
            <a:ext cx="2643000" cy="2346325"/>
          </a:xfrm>
        </p:spPr>
        <p:txBody>
          <a:bodyPr>
            <a:noAutofit/>
          </a:bodyPr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Please insert content</a:t>
            </a:r>
          </a:p>
        </p:txBody>
      </p:sp>
      <p:sp>
        <p:nvSpPr>
          <p:cNvPr id="35" name="Picture Placeholder 34">
            <a:extLst>
              <a:ext uri="{FF2B5EF4-FFF2-40B4-BE49-F238E27FC236}">
                <a16:creationId xmlns:a16="http://schemas.microsoft.com/office/drawing/2014/main" id="{1748B225-2B7F-B60E-B0CC-A7BEAA45CC41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3363001" y="1618720"/>
            <a:ext cx="2643000" cy="1811337"/>
          </a:xfrm>
          <a:solidFill>
            <a:schemeClr val="accent4"/>
          </a:solidFill>
        </p:spPr>
        <p:txBody>
          <a:bodyPr>
            <a:noAutofit/>
          </a:bodyPr>
          <a:lstStyle/>
          <a:p>
            <a:r>
              <a:rPr lang="en-US"/>
              <a:t>Click to insert picture</a:t>
            </a:r>
            <a:endParaRPr lang="en-US" dirty="0"/>
          </a:p>
        </p:txBody>
      </p:sp>
      <p:sp>
        <p:nvSpPr>
          <p:cNvPr id="37" name="Text Placeholder 36">
            <a:extLst>
              <a:ext uri="{FF2B5EF4-FFF2-40B4-BE49-F238E27FC236}">
                <a16:creationId xmlns:a16="http://schemas.microsoft.com/office/drawing/2014/main" id="{5086E601-A09C-165C-4149-296201214EC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363001" y="3698875"/>
            <a:ext cx="2643000" cy="2346325"/>
          </a:xfrm>
        </p:spPr>
        <p:txBody>
          <a:bodyPr>
            <a:noAutofit/>
          </a:bodyPr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Please insert content</a:t>
            </a:r>
          </a:p>
        </p:txBody>
      </p:sp>
      <p:sp>
        <p:nvSpPr>
          <p:cNvPr id="39" name="Picture Placeholder 38">
            <a:extLst>
              <a:ext uri="{FF2B5EF4-FFF2-40B4-BE49-F238E27FC236}">
                <a16:creationId xmlns:a16="http://schemas.microsoft.com/office/drawing/2014/main" id="{6F23DB56-5D93-8EC8-98CD-5747D530CCBE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6186000" y="1618720"/>
            <a:ext cx="2643000" cy="1811337"/>
          </a:xfrm>
          <a:solidFill>
            <a:schemeClr val="accent4"/>
          </a:solidFill>
        </p:spPr>
        <p:txBody>
          <a:bodyPr>
            <a:noAutofit/>
          </a:bodyPr>
          <a:lstStyle/>
          <a:p>
            <a:r>
              <a:rPr lang="en-US"/>
              <a:t>Click to insert picture</a:t>
            </a:r>
            <a:endParaRPr lang="en-US" dirty="0"/>
          </a:p>
        </p:txBody>
      </p:sp>
      <p:sp>
        <p:nvSpPr>
          <p:cNvPr id="41" name="Text Placeholder 40">
            <a:extLst>
              <a:ext uri="{FF2B5EF4-FFF2-40B4-BE49-F238E27FC236}">
                <a16:creationId xmlns:a16="http://schemas.microsoft.com/office/drawing/2014/main" id="{5F3C5BB2-4251-947F-CCD0-813E22121DC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186000" y="3698875"/>
            <a:ext cx="2643000" cy="2346325"/>
          </a:xfrm>
        </p:spPr>
        <p:txBody>
          <a:bodyPr>
            <a:noAutofit/>
          </a:bodyPr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Please insert content</a:t>
            </a:r>
          </a:p>
        </p:txBody>
      </p:sp>
      <p:sp>
        <p:nvSpPr>
          <p:cNvPr id="43" name="Picture Placeholder 42">
            <a:extLst>
              <a:ext uri="{FF2B5EF4-FFF2-40B4-BE49-F238E27FC236}">
                <a16:creationId xmlns:a16="http://schemas.microsoft.com/office/drawing/2014/main" id="{8175BE1D-8097-4D2E-6730-E9723B233FEF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9009000" y="1618720"/>
            <a:ext cx="2643000" cy="1811337"/>
          </a:xfrm>
          <a:solidFill>
            <a:schemeClr val="accent4"/>
          </a:solidFill>
        </p:spPr>
        <p:txBody>
          <a:bodyPr>
            <a:noAutofit/>
          </a:bodyPr>
          <a:lstStyle/>
          <a:p>
            <a:r>
              <a:rPr lang="en-US"/>
              <a:t>Click to insert picture</a:t>
            </a:r>
            <a:endParaRPr lang="en-US" dirty="0"/>
          </a:p>
        </p:txBody>
      </p:sp>
      <p:sp>
        <p:nvSpPr>
          <p:cNvPr id="45" name="Text Placeholder 44">
            <a:extLst>
              <a:ext uri="{FF2B5EF4-FFF2-40B4-BE49-F238E27FC236}">
                <a16:creationId xmlns:a16="http://schemas.microsoft.com/office/drawing/2014/main" id="{F80B8BCB-9B65-4479-D477-7F83BE3E60F5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009000" y="3698875"/>
            <a:ext cx="2643000" cy="2346325"/>
          </a:xfrm>
        </p:spPr>
        <p:txBody>
          <a:bodyPr>
            <a:noAutofit/>
          </a:bodyPr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Please insert content</a:t>
            </a:r>
          </a:p>
        </p:txBody>
      </p:sp>
    </p:spTree>
    <p:extLst>
      <p:ext uri="{BB962C8B-B14F-4D97-AF65-F5344CB8AC3E}">
        <p14:creationId xmlns:p14="http://schemas.microsoft.com/office/powerpoint/2010/main" val="41489893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005" userDrawn="1">
          <p15:clr>
            <a:srgbClr val="FBAE40"/>
          </p15:clr>
        </p15:guide>
        <p15:guide id="3" pos="3783" userDrawn="1">
          <p15:clr>
            <a:srgbClr val="FBAE40"/>
          </p15:clr>
        </p15:guide>
        <p15:guide id="5" pos="2117" userDrawn="1">
          <p15:clr>
            <a:srgbClr val="FBAE40"/>
          </p15:clr>
        </p15:guide>
        <p15:guide id="6" pos="3896" userDrawn="1">
          <p15:clr>
            <a:srgbClr val="FBAE40"/>
          </p15:clr>
        </p15:guide>
        <p15:guide id="7" pos="5562" userDrawn="1">
          <p15:clr>
            <a:srgbClr val="FBAE40"/>
          </p15:clr>
        </p15:guide>
        <p15:guide id="8" pos="5674" userDrawn="1">
          <p15:clr>
            <a:srgbClr val="FBAE40"/>
          </p15:clr>
        </p15:guide>
        <p15:guide id="9" orient="horz" pos="2160" userDrawn="1">
          <p15:clr>
            <a:srgbClr val="FBAE40"/>
          </p15:clr>
        </p15:guide>
        <p15:guide id="10" orient="horz" pos="2330" userDrawn="1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plit Content image_dark_1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" name="Group 14">
            <a:extLst>
              <a:ext uri="{FF2B5EF4-FFF2-40B4-BE49-F238E27FC236}">
                <a16:creationId xmlns:a16="http://schemas.microsoft.com/office/drawing/2014/main" id="{82E22475-5AA0-F2C0-0102-83ECDF348C1B}"/>
              </a:ext>
            </a:extLst>
          </p:cNvPr>
          <p:cNvGrpSpPr/>
          <p:nvPr userDrawn="1"/>
        </p:nvGrpSpPr>
        <p:grpSpPr>
          <a:xfrm>
            <a:off x="9951588" y="538699"/>
            <a:ext cx="1704301" cy="363146"/>
            <a:chOff x="9951588" y="538699"/>
            <a:chExt cx="1704301" cy="363146"/>
          </a:xfrm>
          <a:solidFill>
            <a:schemeClr val="bg1"/>
          </a:solidFill>
        </p:grpSpPr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98DF0A99-91B5-7C8B-95D4-7A1C654B58C5}"/>
                </a:ext>
              </a:extLst>
            </p:cNvPr>
            <p:cNvSpPr/>
            <p:nvPr/>
          </p:nvSpPr>
          <p:spPr>
            <a:xfrm>
              <a:off x="10470746" y="642617"/>
              <a:ext cx="1185143" cy="207458"/>
            </a:xfrm>
            <a:custGeom>
              <a:avLst/>
              <a:gdLst>
                <a:gd name="connsiteX0" fmla="*/ 259606 w 1185143"/>
                <a:gd name="connsiteY0" fmla="*/ 138234 h 207458"/>
                <a:gd name="connsiteX1" fmla="*/ 311539 w 1185143"/>
                <a:gd name="connsiteY1" fmla="*/ 138234 h 207458"/>
                <a:gd name="connsiteX2" fmla="*/ 311539 w 1185143"/>
                <a:gd name="connsiteY2" fmla="*/ 103486 h 207458"/>
                <a:gd name="connsiteX3" fmla="*/ 259606 w 1185143"/>
                <a:gd name="connsiteY3" fmla="*/ 103486 h 207458"/>
                <a:gd name="connsiteX4" fmla="*/ 259606 w 1185143"/>
                <a:gd name="connsiteY4" fmla="*/ 138234 h 207458"/>
                <a:gd name="connsiteX5" fmla="*/ 787196 w 1185143"/>
                <a:gd name="connsiteY5" fmla="*/ 103756 h 207458"/>
                <a:gd name="connsiteX6" fmla="*/ 821943 w 1185143"/>
                <a:gd name="connsiteY6" fmla="*/ 103756 h 207458"/>
                <a:gd name="connsiteX7" fmla="*/ 821943 w 1185143"/>
                <a:gd name="connsiteY7" fmla="*/ 172981 h 207458"/>
                <a:gd name="connsiteX8" fmla="*/ 787196 w 1185143"/>
                <a:gd name="connsiteY8" fmla="*/ 172981 h 207458"/>
                <a:gd name="connsiteX9" fmla="*/ 787196 w 1185143"/>
                <a:gd name="connsiteY9" fmla="*/ 103756 h 207458"/>
                <a:gd name="connsiteX10" fmla="*/ 752718 w 1185143"/>
                <a:gd name="connsiteY10" fmla="*/ 69225 h 207458"/>
                <a:gd name="connsiteX11" fmla="*/ 735318 w 1185143"/>
                <a:gd name="connsiteY11" fmla="*/ 103756 h 207458"/>
                <a:gd name="connsiteX12" fmla="*/ 735318 w 1185143"/>
                <a:gd name="connsiteY12" fmla="*/ 172981 h 207458"/>
                <a:gd name="connsiteX13" fmla="*/ 752718 w 1185143"/>
                <a:gd name="connsiteY13" fmla="*/ 207458 h 207458"/>
                <a:gd name="connsiteX14" fmla="*/ 873821 w 1185143"/>
                <a:gd name="connsiteY14" fmla="*/ 207458 h 207458"/>
                <a:gd name="connsiteX15" fmla="*/ 873821 w 1185143"/>
                <a:gd name="connsiteY15" fmla="*/ 69225 h 207458"/>
                <a:gd name="connsiteX16" fmla="*/ 752718 w 1185143"/>
                <a:gd name="connsiteY16" fmla="*/ 69225 h 207458"/>
                <a:gd name="connsiteX17" fmla="*/ 977577 w 1185143"/>
                <a:gd name="connsiteY17" fmla="*/ 69225 h 207458"/>
                <a:gd name="connsiteX18" fmla="*/ 977577 w 1185143"/>
                <a:gd name="connsiteY18" fmla="*/ 207458 h 207458"/>
                <a:gd name="connsiteX19" fmla="*/ 1029455 w 1185143"/>
                <a:gd name="connsiteY19" fmla="*/ 207458 h 207458"/>
                <a:gd name="connsiteX20" fmla="*/ 1029455 w 1185143"/>
                <a:gd name="connsiteY20" fmla="*/ 103756 h 207458"/>
                <a:gd name="connsiteX21" fmla="*/ 1055394 w 1185143"/>
                <a:gd name="connsiteY21" fmla="*/ 103756 h 207458"/>
                <a:gd name="connsiteX22" fmla="*/ 1055394 w 1185143"/>
                <a:gd name="connsiteY22" fmla="*/ 207458 h 207458"/>
                <a:gd name="connsiteX23" fmla="*/ 1107273 w 1185143"/>
                <a:gd name="connsiteY23" fmla="*/ 207458 h 207458"/>
                <a:gd name="connsiteX24" fmla="*/ 1107273 w 1185143"/>
                <a:gd name="connsiteY24" fmla="*/ 103756 h 207458"/>
                <a:gd name="connsiteX25" fmla="*/ 1133266 w 1185143"/>
                <a:gd name="connsiteY25" fmla="*/ 103756 h 207458"/>
                <a:gd name="connsiteX26" fmla="*/ 1133266 w 1185143"/>
                <a:gd name="connsiteY26" fmla="*/ 207458 h 207458"/>
                <a:gd name="connsiteX27" fmla="*/ 1185144 w 1185143"/>
                <a:gd name="connsiteY27" fmla="*/ 207458 h 207458"/>
                <a:gd name="connsiteX28" fmla="*/ 1185144 w 1185143"/>
                <a:gd name="connsiteY28" fmla="*/ 103756 h 207458"/>
                <a:gd name="connsiteX29" fmla="*/ 1168013 w 1185143"/>
                <a:gd name="connsiteY29" fmla="*/ 69225 h 207458"/>
                <a:gd name="connsiteX30" fmla="*/ 977631 w 1185143"/>
                <a:gd name="connsiteY30" fmla="*/ 69225 h 207458"/>
                <a:gd name="connsiteX31" fmla="*/ 899760 w 1185143"/>
                <a:gd name="connsiteY31" fmla="*/ 207458 h 207458"/>
                <a:gd name="connsiteX32" fmla="*/ 951692 w 1185143"/>
                <a:gd name="connsiteY32" fmla="*/ 207458 h 207458"/>
                <a:gd name="connsiteX33" fmla="*/ 951692 w 1185143"/>
                <a:gd name="connsiteY33" fmla="*/ 69225 h 207458"/>
                <a:gd name="connsiteX34" fmla="*/ 899760 w 1185143"/>
                <a:gd name="connsiteY34" fmla="*/ 69009 h 207458"/>
                <a:gd name="connsiteX35" fmla="*/ 899760 w 1185143"/>
                <a:gd name="connsiteY35" fmla="*/ 207458 h 207458"/>
                <a:gd name="connsiteX36" fmla="*/ 112565 w 1185143"/>
                <a:gd name="connsiteY36" fmla="*/ 34477 h 207458"/>
                <a:gd name="connsiteX37" fmla="*/ 112565 w 1185143"/>
                <a:gd name="connsiteY37" fmla="*/ 103756 h 207458"/>
                <a:gd name="connsiteX38" fmla="*/ 86355 w 1185143"/>
                <a:gd name="connsiteY38" fmla="*/ 103756 h 207458"/>
                <a:gd name="connsiteX39" fmla="*/ 112565 w 1185143"/>
                <a:gd name="connsiteY39" fmla="*/ 34477 h 207458"/>
                <a:gd name="connsiteX40" fmla="*/ 69225 w 1185143"/>
                <a:gd name="connsiteY40" fmla="*/ 0 h 207458"/>
                <a:gd name="connsiteX41" fmla="*/ 0 w 1185143"/>
                <a:gd name="connsiteY41" fmla="*/ 207458 h 207458"/>
                <a:gd name="connsiteX42" fmla="*/ 51878 w 1185143"/>
                <a:gd name="connsiteY42" fmla="*/ 207458 h 207458"/>
                <a:gd name="connsiteX43" fmla="*/ 77817 w 1185143"/>
                <a:gd name="connsiteY43" fmla="*/ 138450 h 207458"/>
                <a:gd name="connsiteX44" fmla="*/ 112565 w 1185143"/>
                <a:gd name="connsiteY44" fmla="*/ 138450 h 207458"/>
                <a:gd name="connsiteX45" fmla="*/ 112565 w 1185143"/>
                <a:gd name="connsiteY45" fmla="*/ 207458 h 207458"/>
                <a:gd name="connsiteX46" fmla="*/ 164443 w 1185143"/>
                <a:gd name="connsiteY46" fmla="*/ 207458 h 207458"/>
                <a:gd name="connsiteX47" fmla="*/ 164443 w 1185143"/>
                <a:gd name="connsiteY47" fmla="*/ 0 h 207458"/>
                <a:gd name="connsiteX48" fmla="*/ 69225 w 1185143"/>
                <a:gd name="connsiteY48" fmla="*/ 0 h 207458"/>
                <a:gd name="connsiteX49" fmla="*/ 190328 w 1185143"/>
                <a:gd name="connsiteY49" fmla="*/ 207458 h 207458"/>
                <a:gd name="connsiteX50" fmla="*/ 242206 w 1185143"/>
                <a:gd name="connsiteY50" fmla="*/ 207458 h 207458"/>
                <a:gd name="connsiteX51" fmla="*/ 242206 w 1185143"/>
                <a:gd name="connsiteY51" fmla="*/ 0 h 207458"/>
                <a:gd name="connsiteX52" fmla="*/ 190328 w 1185143"/>
                <a:gd name="connsiteY52" fmla="*/ 0 h 207458"/>
                <a:gd name="connsiteX53" fmla="*/ 190328 w 1185143"/>
                <a:gd name="connsiteY53" fmla="*/ 207458 h 207458"/>
                <a:gd name="connsiteX54" fmla="*/ 328615 w 1185143"/>
                <a:gd name="connsiteY54" fmla="*/ 0 h 207458"/>
                <a:gd name="connsiteX55" fmla="*/ 328615 w 1185143"/>
                <a:gd name="connsiteY55" fmla="*/ 207458 h 207458"/>
                <a:gd name="connsiteX56" fmla="*/ 380493 w 1185143"/>
                <a:gd name="connsiteY56" fmla="*/ 207458 h 207458"/>
                <a:gd name="connsiteX57" fmla="*/ 380493 w 1185143"/>
                <a:gd name="connsiteY57" fmla="*/ 103756 h 207458"/>
                <a:gd name="connsiteX58" fmla="*/ 415295 w 1185143"/>
                <a:gd name="connsiteY58" fmla="*/ 103756 h 207458"/>
                <a:gd name="connsiteX59" fmla="*/ 415295 w 1185143"/>
                <a:gd name="connsiteY59" fmla="*/ 172981 h 207458"/>
                <a:gd name="connsiteX60" fmla="*/ 432641 w 1185143"/>
                <a:gd name="connsiteY60" fmla="*/ 207458 h 207458"/>
                <a:gd name="connsiteX61" fmla="*/ 553798 w 1185143"/>
                <a:gd name="connsiteY61" fmla="*/ 207458 h 207458"/>
                <a:gd name="connsiteX62" fmla="*/ 553798 w 1185143"/>
                <a:gd name="connsiteY62" fmla="*/ 103756 h 207458"/>
                <a:gd name="connsiteX63" fmla="*/ 579737 w 1185143"/>
                <a:gd name="connsiteY63" fmla="*/ 103756 h 207458"/>
                <a:gd name="connsiteX64" fmla="*/ 579737 w 1185143"/>
                <a:gd name="connsiteY64" fmla="*/ 207458 h 207458"/>
                <a:gd name="connsiteX65" fmla="*/ 631561 w 1185143"/>
                <a:gd name="connsiteY65" fmla="*/ 207458 h 207458"/>
                <a:gd name="connsiteX66" fmla="*/ 631561 w 1185143"/>
                <a:gd name="connsiteY66" fmla="*/ 103756 h 207458"/>
                <a:gd name="connsiteX67" fmla="*/ 657555 w 1185143"/>
                <a:gd name="connsiteY67" fmla="*/ 103756 h 207458"/>
                <a:gd name="connsiteX68" fmla="*/ 657555 w 1185143"/>
                <a:gd name="connsiteY68" fmla="*/ 207458 h 207458"/>
                <a:gd name="connsiteX69" fmla="*/ 709433 w 1185143"/>
                <a:gd name="connsiteY69" fmla="*/ 207458 h 207458"/>
                <a:gd name="connsiteX70" fmla="*/ 709433 w 1185143"/>
                <a:gd name="connsiteY70" fmla="*/ 103756 h 207458"/>
                <a:gd name="connsiteX71" fmla="*/ 735372 w 1185143"/>
                <a:gd name="connsiteY71" fmla="*/ 103756 h 207458"/>
                <a:gd name="connsiteX72" fmla="*/ 735372 w 1185143"/>
                <a:gd name="connsiteY72" fmla="*/ 69225 h 207458"/>
                <a:gd name="connsiteX73" fmla="*/ 709433 w 1185143"/>
                <a:gd name="connsiteY73" fmla="*/ 69225 h 207458"/>
                <a:gd name="connsiteX74" fmla="*/ 709433 w 1185143"/>
                <a:gd name="connsiteY74" fmla="*/ 34477 h 207458"/>
                <a:gd name="connsiteX75" fmla="*/ 657555 w 1185143"/>
                <a:gd name="connsiteY75" fmla="*/ 34477 h 207458"/>
                <a:gd name="connsiteX76" fmla="*/ 657555 w 1185143"/>
                <a:gd name="connsiteY76" fmla="*/ 69225 h 207458"/>
                <a:gd name="connsiteX77" fmla="*/ 631561 w 1185143"/>
                <a:gd name="connsiteY77" fmla="*/ 69225 h 207458"/>
                <a:gd name="connsiteX78" fmla="*/ 631561 w 1185143"/>
                <a:gd name="connsiteY78" fmla="*/ 34477 h 207458"/>
                <a:gd name="connsiteX79" fmla="*/ 579737 w 1185143"/>
                <a:gd name="connsiteY79" fmla="*/ 34477 h 207458"/>
                <a:gd name="connsiteX80" fmla="*/ 579737 w 1185143"/>
                <a:gd name="connsiteY80" fmla="*/ 69225 h 207458"/>
                <a:gd name="connsiteX81" fmla="*/ 501650 w 1185143"/>
                <a:gd name="connsiteY81" fmla="*/ 69225 h 207458"/>
                <a:gd name="connsiteX82" fmla="*/ 501650 w 1185143"/>
                <a:gd name="connsiteY82" fmla="*/ 172927 h 207458"/>
                <a:gd name="connsiteX83" fmla="*/ 467173 w 1185143"/>
                <a:gd name="connsiteY83" fmla="*/ 172927 h 207458"/>
                <a:gd name="connsiteX84" fmla="*/ 467173 w 1185143"/>
                <a:gd name="connsiteY84" fmla="*/ 69225 h 207458"/>
                <a:gd name="connsiteX85" fmla="*/ 380547 w 1185143"/>
                <a:gd name="connsiteY85" fmla="*/ 69225 h 207458"/>
                <a:gd name="connsiteX86" fmla="*/ 380547 w 1185143"/>
                <a:gd name="connsiteY86" fmla="*/ 34477 h 207458"/>
                <a:gd name="connsiteX87" fmla="*/ 467173 w 1185143"/>
                <a:gd name="connsiteY87" fmla="*/ 34477 h 207458"/>
                <a:gd name="connsiteX88" fmla="*/ 467173 w 1185143"/>
                <a:gd name="connsiteY88" fmla="*/ 0 h 207458"/>
                <a:gd name="connsiteX89" fmla="*/ 328669 w 1185143"/>
                <a:gd name="connsiteY89" fmla="*/ 0 h 207458"/>
                <a:gd name="connsiteX90" fmla="*/ 899760 w 1185143"/>
                <a:gd name="connsiteY90" fmla="*/ 34477 h 207458"/>
                <a:gd name="connsiteX91" fmla="*/ 951692 w 1185143"/>
                <a:gd name="connsiteY91" fmla="*/ 34477 h 207458"/>
                <a:gd name="connsiteX92" fmla="*/ 951692 w 1185143"/>
                <a:gd name="connsiteY92" fmla="*/ 0 h 207458"/>
                <a:gd name="connsiteX93" fmla="*/ 899760 w 1185143"/>
                <a:gd name="connsiteY93" fmla="*/ 0 h 207458"/>
                <a:gd name="connsiteX94" fmla="*/ 899760 w 1185143"/>
                <a:gd name="connsiteY94" fmla="*/ 34477 h 2074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</a:cxnLst>
              <a:rect l="l" t="t" r="r" b="b"/>
              <a:pathLst>
                <a:path w="1185143" h="207458">
                  <a:moveTo>
                    <a:pt x="259606" y="138234"/>
                  </a:moveTo>
                  <a:lnTo>
                    <a:pt x="311539" y="138234"/>
                  </a:lnTo>
                  <a:lnTo>
                    <a:pt x="311539" y="103486"/>
                  </a:lnTo>
                  <a:lnTo>
                    <a:pt x="259606" y="103486"/>
                  </a:lnTo>
                  <a:lnTo>
                    <a:pt x="259606" y="138234"/>
                  </a:lnTo>
                  <a:close/>
                  <a:moveTo>
                    <a:pt x="787196" y="103756"/>
                  </a:moveTo>
                  <a:lnTo>
                    <a:pt x="821943" y="103756"/>
                  </a:lnTo>
                  <a:lnTo>
                    <a:pt x="821943" y="172981"/>
                  </a:lnTo>
                  <a:lnTo>
                    <a:pt x="787196" y="172981"/>
                  </a:lnTo>
                  <a:lnTo>
                    <a:pt x="787196" y="103756"/>
                  </a:lnTo>
                  <a:close/>
                  <a:moveTo>
                    <a:pt x="752718" y="69225"/>
                  </a:moveTo>
                  <a:lnTo>
                    <a:pt x="735318" y="103756"/>
                  </a:lnTo>
                  <a:lnTo>
                    <a:pt x="735318" y="172981"/>
                  </a:lnTo>
                  <a:lnTo>
                    <a:pt x="752718" y="207458"/>
                  </a:lnTo>
                  <a:lnTo>
                    <a:pt x="873821" y="207458"/>
                  </a:lnTo>
                  <a:lnTo>
                    <a:pt x="873821" y="69225"/>
                  </a:lnTo>
                  <a:lnTo>
                    <a:pt x="752718" y="69225"/>
                  </a:lnTo>
                  <a:close/>
                  <a:moveTo>
                    <a:pt x="977577" y="69225"/>
                  </a:moveTo>
                  <a:lnTo>
                    <a:pt x="977577" y="207458"/>
                  </a:lnTo>
                  <a:lnTo>
                    <a:pt x="1029455" y="207458"/>
                  </a:lnTo>
                  <a:lnTo>
                    <a:pt x="1029455" y="103756"/>
                  </a:lnTo>
                  <a:lnTo>
                    <a:pt x="1055394" y="103756"/>
                  </a:lnTo>
                  <a:lnTo>
                    <a:pt x="1055394" y="207458"/>
                  </a:lnTo>
                  <a:lnTo>
                    <a:pt x="1107273" y="207458"/>
                  </a:lnTo>
                  <a:lnTo>
                    <a:pt x="1107273" y="103756"/>
                  </a:lnTo>
                  <a:lnTo>
                    <a:pt x="1133266" y="103756"/>
                  </a:lnTo>
                  <a:lnTo>
                    <a:pt x="1133266" y="207458"/>
                  </a:lnTo>
                  <a:lnTo>
                    <a:pt x="1185144" y="207458"/>
                  </a:lnTo>
                  <a:lnTo>
                    <a:pt x="1185144" y="103756"/>
                  </a:lnTo>
                  <a:lnTo>
                    <a:pt x="1168013" y="69225"/>
                  </a:lnTo>
                  <a:lnTo>
                    <a:pt x="977631" y="69225"/>
                  </a:lnTo>
                  <a:close/>
                  <a:moveTo>
                    <a:pt x="899760" y="207458"/>
                  </a:moveTo>
                  <a:lnTo>
                    <a:pt x="951692" y="207458"/>
                  </a:lnTo>
                  <a:lnTo>
                    <a:pt x="951692" y="69225"/>
                  </a:lnTo>
                  <a:lnTo>
                    <a:pt x="899760" y="69009"/>
                  </a:lnTo>
                  <a:lnTo>
                    <a:pt x="899760" y="207458"/>
                  </a:lnTo>
                  <a:close/>
                  <a:moveTo>
                    <a:pt x="112565" y="34477"/>
                  </a:moveTo>
                  <a:lnTo>
                    <a:pt x="112565" y="103756"/>
                  </a:lnTo>
                  <a:lnTo>
                    <a:pt x="86355" y="103756"/>
                  </a:lnTo>
                  <a:lnTo>
                    <a:pt x="112565" y="34477"/>
                  </a:lnTo>
                  <a:close/>
                  <a:moveTo>
                    <a:pt x="69225" y="0"/>
                  </a:moveTo>
                  <a:lnTo>
                    <a:pt x="0" y="207458"/>
                  </a:lnTo>
                  <a:lnTo>
                    <a:pt x="51878" y="207458"/>
                  </a:lnTo>
                  <a:lnTo>
                    <a:pt x="77817" y="138450"/>
                  </a:lnTo>
                  <a:lnTo>
                    <a:pt x="112565" y="138450"/>
                  </a:lnTo>
                  <a:lnTo>
                    <a:pt x="112565" y="207458"/>
                  </a:lnTo>
                  <a:lnTo>
                    <a:pt x="164443" y="207458"/>
                  </a:lnTo>
                  <a:lnTo>
                    <a:pt x="164443" y="0"/>
                  </a:lnTo>
                  <a:lnTo>
                    <a:pt x="69225" y="0"/>
                  </a:lnTo>
                  <a:close/>
                  <a:moveTo>
                    <a:pt x="190328" y="207458"/>
                  </a:moveTo>
                  <a:lnTo>
                    <a:pt x="242206" y="207458"/>
                  </a:lnTo>
                  <a:lnTo>
                    <a:pt x="242206" y="0"/>
                  </a:lnTo>
                  <a:lnTo>
                    <a:pt x="190328" y="0"/>
                  </a:lnTo>
                  <a:lnTo>
                    <a:pt x="190328" y="207458"/>
                  </a:lnTo>
                  <a:close/>
                  <a:moveTo>
                    <a:pt x="328615" y="0"/>
                  </a:moveTo>
                  <a:lnTo>
                    <a:pt x="328615" y="207458"/>
                  </a:lnTo>
                  <a:lnTo>
                    <a:pt x="380493" y="207458"/>
                  </a:lnTo>
                  <a:lnTo>
                    <a:pt x="380493" y="103756"/>
                  </a:lnTo>
                  <a:lnTo>
                    <a:pt x="415295" y="103756"/>
                  </a:lnTo>
                  <a:lnTo>
                    <a:pt x="415295" y="172981"/>
                  </a:lnTo>
                  <a:lnTo>
                    <a:pt x="432641" y="207458"/>
                  </a:lnTo>
                  <a:lnTo>
                    <a:pt x="553798" y="207458"/>
                  </a:lnTo>
                  <a:lnTo>
                    <a:pt x="553798" y="103756"/>
                  </a:lnTo>
                  <a:lnTo>
                    <a:pt x="579737" y="103756"/>
                  </a:lnTo>
                  <a:lnTo>
                    <a:pt x="579737" y="207458"/>
                  </a:lnTo>
                  <a:lnTo>
                    <a:pt x="631561" y="207458"/>
                  </a:lnTo>
                  <a:lnTo>
                    <a:pt x="631561" y="103756"/>
                  </a:lnTo>
                  <a:lnTo>
                    <a:pt x="657555" y="103756"/>
                  </a:lnTo>
                  <a:lnTo>
                    <a:pt x="657555" y="207458"/>
                  </a:lnTo>
                  <a:lnTo>
                    <a:pt x="709433" y="207458"/>
                  </a:lnTo>
                  <a:lnTo>
                    <a:pt x="709433" y="103756"/>
                  </a:lnTo>
                  <a:lnTo>
                    <a:pt x="735372" y="103756"/>
                  </a:lnTo>
                  <a:lnTo>
                    <a:pt x="735372" y="69225"/>
                  </a:lnTo>
                  <a:lnTo>
                    <a:pt x="709433" y="69225"/>
                  </a:lnTo>
                  <a:lnTo>
                    <a:pt x="709433" y="34477"/>
                  </a:lnTo>
                  <a:lnTo>
                    <a:pt x="657555" y="34477"/>
                  </a:lnTo>
                  <a:lnTo>
                    <a:pt x="657555" y="69225"/>
                  </a:lnTo>
                  <a:lnTo>
                    <a:pt x="631561" y="69225"/>
                  </a:lnTo>
                  <a:lnTo>
                    <a:pt x="631561" y="34477"/>
                  </a:lnTo>
                  <a:lnTo>
                    <a:pt x="579737" y="34477"/>
                  </a:lnTo>
                  <a:lnTo>
                    <a:pt x="579737" y="69225"/>
                  </a:lnTo>
                  <a:lnTo>
                    <a:pt x="501650" y="69225"/>
                  </a:lnTo>
                  <a:lnTo>
                    <a:pt x="501650" y="172927"/>
                  </a:lnTo>
                  <a:lnTo>
                    <a:pt x="467173" y="172927"/>
                  </a:lnTo>
                  <a:lnTo>
                    <a:pt x="467173" y="69225"/>
                  </a:lnTo>
                  <a:lnTo>
                    <a:pt x="380547" y="69225"/>
                  </a:lnTo>
                  <a:lnTo>
                    <a:pt x="380547" y="34477"/>
                  </a:lnTo>
                  <a:lnTo>
                    <a:pt x="467173" y="34477"/>
                  </a:lnTo>
                  <a:lnTo>
                    <a:pt x="467173" y="0"/>
                  </a:lnTo>
                  <a:lnTo>
                    <a:pt x="328669" y="0"/>
                  </a:lnTo>
                  <a:close/>
                  <a:moveTo>
                    <a:pt x="899760" y="34477"/>
                  </a:moveTo>
                  <a:lnTo>
                    <a:pt x="951692" y="34477"/>
                  </a:lnTo>
                  <a:lnTo>
                    <a:pt x="951692" y="0"/>
                  </a:lnTo>
                  <a:lnTo>
                    <a:pt x="899760" y="0"/>
                  </a:lnTo>
                  <a:lnTo>
                    <a:pt x="899760" y="34477"/>
                  </a:lnTo>
                  <a:close/>
                </a:path>
              </a:pathLst>
            </a:custGeom>
            <a:grpFill/>
            <a:ln w="538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18B7952A-89C0-D564-994E-FA9124E6506C}"/>
                </a:ext>
              </a:extLst>
            </p:cNvPr>
            <p:cNvSpPr/>
            <p:nvPr/>
          </p:nvSpPr>
          <p:spPr>
            <a:xfrm>
              <a:off x="9951588" y="538699"/>
              <a:ext cx="415348" cy="363146"/>
            </a:xfrm>
            <a:custGeom>
              <a:avLst/>
              <a:gdLst>
                <a:gd name="connsiteX0" fmla="*/ 156175 w 415348"/>
                <a:gd name="connsiteY0" fmla="*/ 155526 h 363146"/>
                <a:gd name="connsiteX1" fmla="*/ 207782 w 415348"/>
                <a:gd name="connsiteY1" fmla="*/ 103864 h 363146"/>
                <a:gd name="connsiteX2" fmla="*/ 259390 w 415348"/>
                <a:gd name="connsiteY2" fmla="*/ 155526 h 363146"/>
                <a:gd name="connsiteX3" fmla="*/ 207782 w 415348"/>
                <a:gd name="connsiteY3" fmla="*/ 207296 h 363146"/>
                <a:gd name="connsiteX4" fmla="*/ 156175 w 415348"/>
                <a:gd name="connsiteY4" fmla="*/ 155526 h 363146"/>
                <a:gd name="connsiteX5" fmla="*/ 207782 w 415348"/>
                <a:gd name="connsiteY5" fmla="*/ 0 h 363146"/>
                <a:gd name="connsiteX6" fmla="*/ 0 w 415348"/>
                <a:gd name="connsiteY6" fmla="*/ 207350 h 363146"/>
                <a:gd name="connsiteX7" fmla="*/ 51986 w 415348"/>
                <a:gd name="connsiteY7" fmla="*/ 259228 h 363146"/>
                <a:gd name="connsiteX8" fmla="*/ 104134 w 415348"/>
                <a:gd name="connsiteY8" fmla="*/ 207512 h 363146"/>
                <a:gd name="connsiteX9" fmla="*/ 155904 w 415348"/>
                <a:gd name="connsiteY9" fmla="*/ 259499 h 363146"/>
                <a:gd name="connsiteX10" fmla="*/ 103810 w 415348"/>
                <a:gd name="connsiteY10" fmla="*/ 311593 h 363146"/>
                <a:gd name="connsiteX11" fmla="*/ 155904 w 415348"/>
                <a:gd name="connsiteY11" fmla="*/ 363147 h 363146"/>
                <a:gd name="connsiteX12" fmla="*/ 206810 w 415348"/>
                <a:gd name="connsiteY12" fmla="*/ 311431 h 363146"/>
                <a:gd name="connsiteX13" fmla="*/ 259823 w 415348"/>
                <a:gd name="connsiteY13" fmla="*/ 363147 h 363146"/>
                <a:gd name="connsiteX14" fmla="*/ 311485 w 415348"/>
                <a:gd name="connsiteY14" fmla="*/ 311431 h 363146"/>
                <a:gd name="connsiteX15" fmla="*/ 259823 w 415348"/>
                <a:gd name="connsiteY15" fmla="*/ 259769 h 363146"/>
                <a:gd name="connsiteX16" fmla="*/ 312025 w 415348"/>
                <a:gd name="connsiteY16" fmla="*/ 207512 h 363146"/>
                <a:gd name="connsiteX17" fmla="*/ 363633 w 415348"/>
                <a:gd name="connsiteY17" fmla="*/ 259228 h 363146"/>
                <a:gd name="connsiteX18" fmla="*/ 415349 w 415348"/>
                <a:gd name="connsiteY18" fmla="*/ 207512 h 363146"/>
                <a:gd name="connsiteX19" fmla="*/ 207782 w 415348"/>
                <a:gd name="connsiteY19" fmla="*/ 0 h 3631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415348" h="363146">
                  <a:moveTo>
                    <a:pt x="156175" y="155526"/>
                  </a:moveTo>
                  <a:lnTo>
                    <a:pt x="207782" y="103864"/>
                  </a:lnTo>
                  <a:lnTo>
                    <a:pt x="259390" y="155526"/>
                  </a:lnTo>
                  <a:lnTo>
                    <a:pt x="207782" y="207296"/>
                  </a:lnTo>
                  <a:lnTo>
                    <a:pt x="156175" y="155526"/>
                  </a:lnTo>
                  <a:close/>
                  <a:moveTo>
                    <a:pt x="207782" y="0"/>
                  </a:moveTo>
                  <a:lnTo>
                    <a:pt x="0" y="207350"/>
                  </a:lnTo>
                  <a:lnTo>
                    <a:pt x="51986" y="259228"/>
                  </a:lnTo>
                  <a:lnTo>
                    <a:pt x="104134" y="207512"/>
                  </a:lnTo>
                  <a:lnTo>
                    <a:pt x="155904" y="259499"/>
                  </a:lnTo>
                  <a:lnTo>
                    <a:pt x="103810" y="311593"/>
                  </a:lnTo>
                  <a:lnTo>
                    <a:pt x="155904" y="363147"/>
                  </a:lnTo>
                  <a:lnTo>
                    <a:pt x="206810" y="311431"/>
                  </a:lnTo>
                  <a:lnTo>
                    <a:pt x="259823" y="363147"/>
                  </a:lnTo>
                  <a:lnTo>
                    <a:pt x="311485" y="311431"/>
                  </a:lnTo>
                  <a:lnTo>
                    <a:pt x="259823" y="259769"/>
                  </a:lnTo>
                  <a:lnTo>
                    <a:pt x="312025" y="207512"/>
                  </a:lnTo>
                  <a:lnTo>
                    <a:pt x="363633" y="259228"/>
                  </a:lnTo>
                  <a:lnTo>
                    <a:pt x="415349" y="207512"/>
                  </a:lnTo>
                  <a:lnTo>
                    <a:pt x="207782" y="0"/>
                  </a:lnTo>
                  <a:close/>
                </a:path>
              </a:pathLst>
            </a:custGeom>
            <a:solidFill>
              <a:schemeClr val="accent2"/>
            </a:solidFill>
            <a:ln w="538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12E37481-81B7-DAE5-9279-A2E3EA447BE6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184900" y="0"/>
            <a:ext cx="6007100" cy="6858000"/>
          </a:xfrm>
          <a:custGeom>
            <a:avLst/>
            <a:gdLst>
              <a:gd name="connsiteX0" fmla="*/ 5073042 w 6007100"/>
              <a:gd name="connsiteY0" fmla="*/ 746373 h 6858000"/>
              <a:gd name="connsiteX1" fmla="*/ 5107789 w 6007100"/>
              <a:gd name="connsiteY1" fmla="*/ 746373 h 6858000"/>
              <a:gd name="connsiteX2" fmla="*/ 5107789 w 6007100"/>
              <a:gd name="connsiteY2" fmla="*/ 815598 h 6858000"/>
              <a:gd name="connsiteX3" fmla="*/ 5073042 w 6007100"/>
              <a:gd name="connsiteY3" fmla="*/ 815598 h 6858000"/>
              <a:gd name="connsiteX4" fmla="*/ 5021218 w 6007100"/>
              <a:gd name="connsiteY4" fmla="*/ 746266 h 6858000"/>
              <a:gd name="connsiteX5" fmla="*/ 5021218 w 6007100"/>
              <a:gd name="connsiteY5" fmla="*/ 746373 h 6858000"/>
              <a:gd name="connsiteX6" fmla="*/ 5021164 w 6007100"/>
              <a:gd name="connsiteY6" fmla="*/ 746373 h 6858000"/>
              <a:gd name="connsiteX7" fmla="*/ 4545452 w 6007100"/>
              <a:gd name="connsiteY7" fmla="*/ 746103 h 6858000"/>
              <a:gd name="connsiteX8" fmla="*/ 4545452 w 6007100"/>
              <a:gd name="connsiteY8" fmla="*/ 780851 h 6858000"/>
              <a:gd name="connsiteX9" fmla="*/ 4597385 w 6007100"/>
              <a:gd name="connsiteY9" fmla="*/ 780851 h 6858000"/>
              <a:gd name="connsiteX10" fmla="*/ 4597385 w 6007100"/>
              <a:gd name="connsiteY10" fmla="*/ 746103 h 6858000"/>
              <a:gd name="connsiteX11" fmla="*/ 5263423 w 6007100"/>
              <a:gd name="connsiteY11" fmla="*/ 711842 h 6858000"/>
              <a:gd name="connsiteX12" fmla="*/ 5263423 w 6007100"/>
              <a:gd name="connsiteY12" fmla="*/ 850075 h 6858000"/>
              <a:gd name="connsiteX13" fmla="*/ 5315301 w 6007100"/>
              <a:gd name="connsiteY13" fmla="*/ 850075 h 6858000"/>
              <a:gd name="connsiteX14" fmla="*/ 5315301 w 6007100"/>
              <a:gd name="connsiteY14" fmla="*/ 746373 h 6858000"/>
              <a:gd name="connsiteX15" fmla="*/ 5341240 w 6007100"/>
              <a:gd name="connsiteY15" fmla="*/ 746373 h 6858000"/>
              <a:gd name="connsiteX16" fmla="*/ 5341240 w 6007100"/>
              <a:gd name="connsiteY16" fmla="*/ 850075 h 6858000"/>
              <a:gd name="connsiteX17" fmla="*/ 5393119 w 6007100"/>
              <a:gd name="connsiteY17" fmla="*/ 850075 h 6858000"/>
              <a:gd name="connsiteX18" fmla="*/ 5393119 w 6007100"/>
              <a:gd name="connsiteY18" fmla="*/ 746373 h 6858000"/>
              <a:gd name="connsiteX19" fmla="*/ 5419112 w 6007100"/>
              <a:gd name="connsiteY19" fmla="*/ 746373 h 6858000"/>
              <a:gd name="connsiteX20" fmla="*/ 5419112 w 6007100"/>
              <a:gd name="connsiteY20" fmla="*/ 850075 h 6858000"/>
              <a:gd name="connsiteX21" fmla="*/ 5470990 w 6007100"/>
              <a:gd name="connsiteY21" fmla="*/ 850075 h 6858000"/>
              <a:gd name="connsiteX22" fmla="*/ 5470990 w 6007100"/>
              <a:gd name="connsiteY22" fmla="*/ 746373 h 6858000"/>
              <a:gd name="connsiteX23" fmla="*/ 5453859 w 6007100"/>
              <a:gd name="connsiteY23" fmla="*/ 711842 h 6858000"/>
              <a:gd name="connsiteX24" fmla="*/ 5263477 w 6007100"/>
              <a:gd name="connsiteY24" fmla="*/ 711842 h 6858000"/>
              <a:gd name="connsiteX25" fmla="*/ 5185606 w 6007100"/>
              <a:gd name="connsiteY25" fmla="*/ 711626 h 6858000"/>
              <a:gd name="connsiteX26" fmla="*/ 5185606 w 6007100"/>
              <a:gd name="connsiteY26" fmla="*/ 850075 h 6858000"/>
              <a:gd name="connsiteX27" fmla="*/ 5237538 w 6007100"/>
              <a:gd name="connsiteY27" fmla="*/ 850075 h 6858000"/>
              <a:gd name="connsiteX28" fmla="*/ 5237538 w 6007100"/>
              <a:gd name="connsiteY28" fmla="*/ 711842 h 6858000"/>
              <a:gd name="connsiteX29" fmla="*/ 4398411 w 6007100"/>
              <a:gd name="connsiteY29" fmla="*/ 677094 h 6858000"/>
              <a:gd name="connsiteX30" fmla="*/ 4398411 w 6007100"/>
              <a:gd name="connsiteY30" fmla="*/ 746373 h 6858000"/>
              <a:gd name="connsiteX31" fmla="*/ 4372201 w 6007100"/>
              <a:gd name="connsiteY31" fmla="*/ 746373 h 6858000"/>
              <a:gd name="connsiteX32" fmla="*/ 5185606 w 6007100"/>
              <a:gd name="connsiteY32" fmla="*/ 642617 h 6858000"/>
              <a:gd name="connsiteX33" fmla="*/ 5185606 w 6007100"/>
              <a:gd name="connsiteY33" fmla="*/ 677094 h 6858000"/>
              <a:gd name="connsiteX34" fmla="*/ 5237538 w 6007100"/>
              <a:gd name="connsiteY34" fmla="*/ 677094 h 6858000"/>
              <a:gd name="connsiteX35" fmla="*/ 5237538 w 6007100"/>
              <a:gd name="connsiteY35" fmla="*/ 642617 h 6858000"/>
              <a:gd name="connsiteX36" fmla="*/ 4614461 w 6007100"/>
              <a:gd name="connsiteY36" fmla="*/ 642617 h 6858000"/>
              <a:gd name="connsiteX37" fmla="*/ 4614461 w 6007100"/>
              <a:gd name="connsiteY37" fmla="*/ 850075 h 6858000"/>
              <a:gd name="connsiteX38" fmla="*/ 4666339 w 6007100"/>
              <a:gd name="connsiteY38" fmla="*/ 850075 h 6858000"/>
              <a:gd name="connsiteX39" fmla="*/ 4666339 w 6007100"/>
              <a:gd name="connsiteY39" fmla="*/ 746373 h 6858000"/>
              <a:gd name="connsiteX40" fmla="*/ 4701141 w 6007100"/>
              <a:gd name="connsiteY40" fmla="*/ 746373 h 6858000"/>
              <a:gd name="connsiteX41" fmla="*/ 4701141 w 6007100"/>
              <a:gd name="connsiteY41" fmla="*/ 815598 h 6858000"/>
              <a:gd name="connsiteX42" fmla="*/ 4718487 w 6007100"/>
              <a:gd name="connsiteY42" fmla="*/ 850075 h 6858000"/>
              <a:gd name="connsiteX43" fmla="*/ 4839644 w 6007100"/>
              <a:gd name="connsiteY43" fmla="*/ 850075 h 6858000"/>
              <a:gd name="connsiteX44" fmla="*/ 4839644 w 6007100"/>
              <a:gd name="connsiteY44" fmla="*/ 746373 h 6858000"/>
              <a:gd name="connsiteX45" fmla="*/ 4865583 w 6007100"/>
              <a:gd name="connsiteY45" fmla="*/ 746373 h 6858000"/>
              <a:gd name="connsiteX46" fmla="*/ 4865583 w 6007100"/>
              <a:gd name="connsiteY46" fmla="*/ 850075 h 6858000"/>
              <a:gd name="connsiteX47" fmla="*/ 4917407 w 6007100"/>
              <a:gd name="connsiteY47" fmla="*/ 850075 h 6858000"/>
              <a:gd name="connsiteX48" fmla="*/ 4917407 w 6007100"/>
              <a:gd name="connsiteY48" fmla="*/ 746373 h 6858000"/>
              <a:gd name="connsiteX49" fmla="*/ 4943401 w 6007100"/>
              <a:gd name="connsiteY49" fmla="*/ 746373 h 6858000"/>
              <a:gd name="connsiteX50" fmla="*/ 4943401 w 6007100"/>
              <a:gd name="connsiteY50" fmla="*/ 850075 h 6858000"/>
              <a:gd name="connsiteX51" fmla="*/ 4995279 w 6007100"/>
              <a:gd name="connsiteY51" fmla="*/ 850075 h 6858000"/>
              <a:gd name="connsiteX52" fmla="*/ 4995279 w 6007100"/>
              <a:gd name="connsiteY52" fmla="*/ 746373 h 6858000"/>
              <a:gd name="connsiteX53" fmla="*/ 5021164 w 6007100"/>
              <a:gd name="connsiteY53" fmla="*/ 746373 h 6858000"/>
              <a:gd name="connsiteX54" fmla="*/ 5021164 w 6007100"/>
              <a:gd name="connsiteY54" fmla="*/ 815598 h 6858000"/>
              <a:gd name="connsiteX55" fmla="*/ 5038564 w 6007100"/>
              <a:gd name="connsiteY55" fmla="*/ 850075 h 6858000"/>
              <a:gd name="connsiteX56" fmla="*/ 5159667 w 6007100"/>
              <a:gd name="connsiteY56" fmla="*/ 850075 h 6858000"/>
              <a:gd name="connsiteX57" fmla="*/ 5159667 w 6007100"/>
              <a:gd name="connsiteY57" fmla="*/ 711842 h 6858000"/>
              <a:gd name="connsiteX58" fmla="*/ 5038564 w 6007100"/>
              <a:gd name="connsiteY58" fmla="*/ 711842 h 6858000"/>
              <a:gd name="connsiteX59" fmla="*/ 5021218 w 6007100"/>
              <a:gd name="connsiteY59" fmla="*/ 746266 h 6858000"/>
              <a:gd name="connsiteX60" fmla="*/ 5021218 w 6007100"/>
              <a:gd name="connsiteY60" fmla="*/ 711842 h 6858000"/>
              <a:gd name="connsiteX61" fmla="*/ 4995279 w 6007100"/>
              <a:gd name="connsiteY61" fmla="*/ 711842 h 6858000"/>
              <a:gd name="connsiteX62" fmla="*/ 4995279 w 6007100"/>
              <a:gd name="connsiteY62" fmla="*/ 677094 h 6858000"/>
              <a:gd name="connsiteX63" fmla="*/ 4943401 w 6007100"/>
              <a:gd name="connsiteY63" fmla="*/ 677094 h 6858000"/>
              <a:gd name="connsiteX64" fmla="*/ 4943401 w 6007100"/>
              <a:gd name="connsiteY64" fmla="*/ 711842 h 6858000"/>
              <a:gd name="connsiteX65" fmla="*/ 4917407 w 6007100"/>
              <a:gd name="connsiteY65" fmla="*/ 711842 h 6858000"/>
              <a:gd name="connsiteX66" fmla="*/ 4917407 w 6007100"/>
              <a:gd name="connsiteY66" fmla="*/ 677094 h 6858000"/>
              <a:gd name="connsiteX67" fmla="*/ 4865583 w 6007100"/>
              <a:gd name="connsiteY67" fmla="*/ 677094 h 6858000"/>
              <a:gd name="connsiteX68" fmla="*/ 4865583 w 6007100"/>
              <a:gd name="connsiteY68" fmla="*/ 711842 h 6858000"/>
              <a:gd name="connsiteX69" fmla="*/ 4787496 w 6007100"/>
              <a:gd name="connsiteY69" fmla="*/ 711842 h 6858000"/>
              <a:gd name="connsiteX70" fmla="*/ 4787496 w 6007100"/>
              <a:gd name="connsiteY70" fmla="*/ 815544 h 6858000"/>
              <a:gd name="connsiteX71" fmla="*/ 4753019 w 6007100"/>
              <a:gd name="connsiteY71" fmla="*/ 815544 h 6858000"/>
              <a:gd name="connsiteX72" fmla="*/ 4753019 w 6007100"/>
              <a:gd name="connsiteY72" fmla="*/ 711842 h 6858000"/>
              <a:gd name="connsiteX73" fmla="*/ 4666393 w 6007100"/>
              <a:gd name="connsiteY73" fmla="*/ 711842 h 6858000"/>
              <a:gd name="connsiteX74" fmla="*/ 4666393 w 6007100"/>
              <a:gd name="connsiteY74" fmla="*/ 677094 h 6858000"/>
              <a:gd name="connsiteX75" fmla="*/ 4753019 w 6007100"/>
              <a:gd name="connsiteY75" fmla="*/ 677094 h 6858000"/>
              <a:gd name="connsiteX76" fmla="*/ 4753019 w 6007100"/>
              <a:gd name="connsiteY76" fmla="*/ 642617 h 6858000"/>
              <a:gd name="connsiteX77" fmla="*/ 4614515 w 6007100"/>
              <a:gd name="connsiteY77" fmla="*/ 642617 h 6858000"/>
              <a:gd name="connsiteX78" fmla="*/ 4476174 w 6007100"/>
              <a:gd name="connsiteY78" fmla="*/ 642617 h 6858000"/>
              <a:gd name="connsiteX79" fmla="*/ 4476174 w 6007100"/>
              <a:gd name="connsiteY79" fmla="*/ 850075 h 6858000"/>
              <a:gd name="connsiteX80" fmla="*/ 4528052 w 6007100"/>
              <a:gd name="connsiteY80" fmla="*/ 850075 h 6858000"/>
              <a:gd name="connsiteX81" fmla="*/ 4528052 w 6007100"/>
              <a:gd name="connsiteY81" fmla="*/ 642617 h 6858000"/>
              <a:gd name="connsiteX82" fmla="*/ 4355071 w 6007100"/>
              <a:gd name="connsiteY82" fmla="*/ 642617 h 6858000"/>
              <a:gd name="connsiteX83" fmla="*/ 4285846 w 6007100"/>
              <a:gd name="connsiteY83" fmla="*/ 850075 h 6858000"/>
              <a:gd name="connsiteX84" fmla="*/ 4337724 w 6007100"/>
              <a:gd name="connsiteY84" fmla="*/ 850075 h 6858000"/>
              <a:gd name="connsiteX85" fmla="*/ 4363663 w 6007100"/>
              <a:gd name="connsiteY85" fmla="*/ 781067 h 6858000"/>
              <a:gd name="connsiteX86" fmla="*/ 4398411 w 6007100"/>
              <a:gd name="connsiteY86" fmla="*/ 781067 h 6858000"/>
              <a:gd name="connsiteX87" fmla="*/ 4398411 w 6007100"/>
              <a:gd name="connsiteY87" fmla="*/ 850075 h 6858000"/>
              <a:gd name="connsiteX88" fmla="*/ 4450289 w 6007100"/>
              <a:gd name="connsiteY88" fmla="*/ 850075 h 6858000"/>
              <a:gd name="connsiteX89" fmla="*/ 4450289 w 6007100"/>
              <a:gd name="connsiteY89" fmla="*/ 642617 h 6858000"/>
              <a:gd name="connsiteX90" fmla="*/ 3974470 w 6007100"/>
              <a:gd name="connsiteY90" fmla="*/ 642563 h 6858000"/>
              <a:gd name="connsiteX91" fmla="*/ 4026078 w 6007100"/>
              <a:gd name="connsiteY91" fmla="*/ 694225 h 6858000"/>
              <a:gd name="connsiteX92" fmla="*/ 3974470 w 6007100"/>
              <a:gd name="connsiteY92" fmla="*/ 745995 h 6858000"/>
              <a:gd name="connsiteX93" fmla="*/ 3922863 w 6007100"/>
              <a:gd name="connsiteY93" fmla="*/ 694225 h 6858000"/>
              <a:gd name="connsiteX94" fmla="*/ 3974470 w 6007100"/>
              <a:gd name="connsiteY94" fmla="*/ 538699 h 6858000"/>
              <a:gd name="connsiteX95" fmla="*/ 3766688 w 6007100"/>
              <a:gd name="connsiteY95" fmla="*/ 746049 h 6858000"/>
              <a:gd name="connsiteX96" fmla="*/ 3818674 w 6007100"/>
              <a:gd name="connsiteY96" fmla="*/ 797927 h 6858000"/>
              <a:gd name="connsiteX97" fmla="*/ 3870822 w 6007100"/>
              <a:gd name="connsiteY97" fmla="*/ 746211 h 6858000"/>
              <a:gd name="connsiteX98" fmla="*/ 3922592 w 6007100"/>
              <a:gd name="connsiteY98" fmla="*/ 798198 h 6858000"/>
              <a:gd name="connsiteX99" fmla="*/ 3870498 w 6007100"/>
              <a:gd name="connsiteY99" fmla="*/ 850292 h 6858000"/>
              <a:gd name="connsiteX100" fmla="*/ 3922592 w 6007100"/>
              <a:gd name="connsiteY100" fmla="*/ 901846 h 6858000"/>
              <a:gd name="connsiteX101" fmla="*/ 3973498 w 6007100"/>
              <a:gd name="connsiteY101" fmla="*/ 850130 h 6858000"/>
              <a:gd name="connsiteX102" fmla="*/ 4026511 w 6007100"/>
              <a:gd name="connsiteY102" fmla="*/ 901846 h 6858000"/>
              <a:gd name="connsiteX103" fmla="*/ 4078173 w 6007100"/>
              <a:gd name="connsiteY103" fmla="*/ 850130 h 6858000"/>
              <a:gd name="connsiteX104" fmla="*/ 4026511 w 6007100"/>
              <a:gd name="connsiteY104" fmla="*/ 798468 h 6858000"/>
              <a:gd name="connsiteX105" fmla="*/ 4078713 w 6007100"/>
              <a:gd name="connsiteY105" fmla="*/ 746211 h 6858000"/>
              <a:gd name="connsiteX106" fmla="*/ 4130321 w 6007100"/>
              <a:gd name="connsiteY106" fmla="*/ 797927 h 6858000"/>
              <a:gd name="connsiteX107" fmla="*/ 4182037 w 6007100"/>
              <a:gd name="connsiteY107" fmla="*/ 746211 h 6858000"/>
              <a:gd name="connsiteX108" fmla="*/ 0 w 6007100"/>
              <a:gd name="connsiteY108" fmla="*/ 0 h 6858000"/>
              <a:gd name="connsiteX109" fmla="*/ 6007100 w 6007100"/>
              <a:gd name="connsiteY109" fmla="*/ 0 h 6858000"/>
              <a:gd name="connsiteX110" fmla="*/ 6007100 w 6007100"/>
              <a:gd name="connsiteY110" fmla="*/ 6858000 h 6858000"/>
              <a:gd name="connsiteX111" fmla="*/ 0 w 6007100"/>
              <a:gd name="connsiteY111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</a:cxnLst>
            <a:rect l="l" t="t" r="r" b="b"/>
            <a:pathLst>
              <a:path w="6007100" h="6858000">
                <a:moveTo>
                  <a:pt x="5073042" y="746373"/>
                </a:moveTo>
                <a:lnTo>
                  <a:pt x="5107789" y="746373"/>
                </a:lnTo>
                <a:lnTo>
                  <a:pt x="5107789" y="815598"/>
                </a:lnTo>
                <a:lnTo>
                  <a:pt x="5073042" y="815598"/>
                </a:lnTo>
                <a:close/>
                <a:moveTo>
                  <a:pt x="5021218" y="746266"/>
                </a:moveTo>
                <a:lnTo>
                  <a:pt x="5021218" y="746373"/>
                </a:lnTo>
                <a:lnTo>
                  <a:pt x="5021164" y="746373"/>
                </a:lnTo>
                <a:close/>
                <a:moveTo>
                  <a:pt x="4545452" y="746103"/>
                </a:moveTo>
                <a:lnTo>
                  <a:pt x="4545452" y="780851"/>
                </a:lnTo>
                <a:lnTo>
                  <a:pt x="4597385" y="780851"/>
                </a:lnTo>
                <a:lnTo>
                  <a:pt x="4597385" y="746103"/>
                </a:lnTo>
                <a:close/>
                <a:moveTo>
                  <a:pt x="5263423" y="711842"/>
                </a:moveTo>
                <a:lnTo>
                  <a:pt x="5263423" y="850075"/>
                </a:lnTo>
                <a:lnTo>
                  <a:pt x="5315301" y="850075"/>
                </a:lnTo>
                <a:lnTo>
                  <a:pt x="5315301" y="746373"/>
                </a:lnTo>
                <a:lnTo>
                  <a:pt x="5341240" y="746373"/>
                </a:lnTo>
                <a:lnTo>
                  <a:pt x="5341240" y="850075"/>
                </a:lnTo>
                <a:lnTo>
                  <a:pt x="5393119" y="850075"/>
                </a:lnTo>
                <a:lnTo>
                  <a:pt x="5393119" y="746373"/>
                </a:lnTo>
                <a:lnTo>
                  <a:pt x="5419112" y="746373"/>
                </a:lnTo>
                <a:lnTo>
                  <a:pt x="5419112" y="850075"/>
                </a:lnTo>
                <a:lnTo>
                  <a:pt x="5470990" y="850075"/>
                </a:lnTo>
                <a:lnTo>
                  <a:pt x="5470990" y="746373"/>
                </a:lnTo>
                <a:lnTo>
                  <a:pt x="5453859" y="711842"/>
                </a:lnTo>
                <a:lnTo>
                  <a:pt x="5263477" y="711842"/>
                </a:lnTo>
                <a:close/>
                <a:moveTo>
                  <a:pt x="5185606" y="711626"/>
                </a:moveTo>
                <a:lnTo>
                  <a:pt x="5185606" y="850075"/>
                </a:lnTo>
                <a:lnTo>
                  <a:pt x="5237538" y="850075"/>
                </a:lnTo>
                <a:lnTo>
                  <a:pt x="5237538" y="711842"/>
                </a:lnTo>
                <a:close/>
                <a:moveTo>
                  <a:pt x="4398411" y="677094"/>
                </a:moveTo>
                <a:lnTo>
                  <a:pt x="4398411" y="746373"/>
                </a:lnTo>
                <a:lnTo>
                  <a:pt x="4372201" y="746373"/>
                </a:lnTo>
                <a:close/>
                <a:moveTo>
                  <a:pt x="5185606" y="642617"/>
                </a:moveTo>
                <a:lnTo>
                  <a:pt x="5185606" y="677094"/>
                </a:lnTo>
                <a:lnTo>
                  <a:pt x="5237538" y="677094"/>
                </a:lnTo>
                <a:lnTo>
                  <a:pt x="5237538" y="642617"/>
                </a:lnTo>
                <a:close/>
                <a:moveTo>
                  <a:pt x="4614461" y="642617"/>
                </a:moveTo>
                <a:lnTo>
                  <a:pt x="4614461" y="850075"/>
                </a:lnTo>
                <a:lnTo>
                  <a:pt x="4666339" y="850075"/>
                </a:lnTo>
                <a:lnTo>
                  <a:pt x="4666339" y="746373"/>
                </a:lnTo>
                <a:lnTo>
                  <a:pt x="4701141" y="746373"/>
                </a:lnTo>
                <a:lnTo>
                  <a:pt x="4701141" y="815598"/>
                </a:lnTo>
                <a:lnTo>
                  <a:pt x="4718487" y="850075"/>
                </a:lnTo>
                <a:lnTo>
                  <a:pt x="4839644" y="850075"/>
                </a:lnTo>
                <a:lnTo>
                  <a:pt x="4839644" y="746373"/>
                </a:lnTo>
                <a:lnTo>
                  <a:pt x="4865583" y="746373"/>
                </a:lnTo>
                <a:lnTo>
                  <a:pt x="4865583" y="850075"/>
                </a:lnTo>
                <a:lnTo>
                  <a:pt x="4917407" y="850075"/>
                </a:lnTo>
                <a:lnTo>
                  <a:pt x="4917407" y="746373"/>
                </a:lnTo>
                <a:lnTo>
                  <a:pt x="4943401" y="746373"/>
                </a:lnTo>
                <a:lnTo>
                  <a:pt x="4943401" y="850075"/>
                </a:lnTo>
                <a:lnTo>
                  <a:pt x="4995279" y="850075"/>
                </a:lnTo>
                <a:lnTo>
                  <a:pt x="4995279" y="746373"/>
                </a:lnTo>
                <a:lnTo>
                  <a:pt x="5021164" y="746373"/>
                </a:lnTo>
                <a:lnTo>
                  <a:pt x="5021164" y="815598"/>
                </a:lnTo>
                <a:lnTo>
                  <a:pt x="5038564" y="850075"/>
                </a:lnTo>
                <a:lnTo>
                  <a:pt x="5159667" y="850075"/>
                </a:lnTo>
                <a:lnTo>
                  <a:pt x="5159667" y="711842"/>
                </a:lnTo>
                <a:lnTo>
                  <a:pt x="5038564" y="711842"/>
                </a:lnTo>
                <a:lnTo>
                  <a:pt x="5021218" y="746266"/>
                </a:lnTo>
                <a:lnTo>
                  <a:pt x="5021218" y="711842"/>
                </a:lnTo>
                <a:lnTo>
                  <a:pt x="4995279" y="711842"/>
                </a:lnTo>
                <a:lnTo>
                  <a:pt x="4995279" y="677094"/>
                </a:lnTo>
                <a:lnTo>
                  <a:pt x="4943401" y="677094"/>
                </a:lnTo>
                <a:lnTo>
                  <a:pt x="4943401" y="711842"/>
                </a:lnTo>
                <a:lnTo>
                  <a:pt x="4917407" y="711842"/>
                </a:lnTo>
                <a:lnTo>
                  <a:pt x="4917407" y="677094"/>
                </a:lnTo>
                <a:lnTo>
                  <a:pt x="4865583" y="677094"/>
                </a:lnTo>
                <a:lnTo>
                  <a:pt x="4865583" y="711842"/>
                </a:lnTo>
                <a:lnTo>
                  <a:pt x="4787496" y="711842"/>
                </a:lnTo>
                <a:lnTo>
                  <a:pt x="4787496" y="815544"/>
                </a:lnTo>
                <a:lnTo>
                  <a:pt x="4753019" y="815544"/>
                </a:lnTo>
                <a:lnTo>
                  <a:pt x="4753019" y="711842"/>
                </a:lnTo>
                <a:lnTo>
                  <a:pt x="4666393" y="711842"/>
                </a:lnTo>
                <a:lnTo>
                  <a:pt x="4666393" y="677094"/>
                </a:lnTo>
                <a:lnTo>
                  <a:pt x="4753019" y="677094"/>
                </a:lnTo>
                <a:lnTo>
                  <a:pt x="4753019" y="642617"/>
                </a:lnTo>
                <a:lnTo>
                  <a:pt x="4614515" y="642617"/>
                </a:lnTo>
                <a:close/>
                <a:moveTo>
                  <a:pt x="4476174" y="642617"/>
                </a:moveTo>
                <a:lnTo>
                  <a:pt x="4476174" y="850075"/>
                </a:lnTo>
                <a:lnTo>
                  <a:pt x="4528052" y="850075"/>
                </a:lnTo>
                <a:lnTo>
                  <a:pt x="4528052" y="642617"/>
                </a:lnTo>
                <a:close/>
                <a:moveTo>
                  <a:pt x="4355071" y="642617"/>
                </a:moveTo>
                <a:lnTo>
                  <a:pt x="4285846" y="850075"/>
                </a:lnTo>
                <a:lnTo>
                  <a:pt x="4337724" y="850075"/>
                </a:lnTo>
                <a:lnTo>
                  <a:pt x="4363663" y="781067"/>
                </a:lnTo>
                <a:lnTo>
                  <a:pt x="4398411" y="781067"/>
                </a:lnTo>
                <a:lnTo>
                  <a:pt x="4398411" y="850075"/>
                </a:lnTo>
                <a:lnTo>
                  <a:pt x="4450289" y="850075"/>
                </a:lnTo>
                <a:lnTo>
                  <a:pt x="4450289" y="642617"/>
                </a:lnTo>
                <a:close/>
                <a:moveTo>
                  <a:pt x="3974470" y="642563"/>
                </a:moveTo>
                <a:lnTo>
                  <a:pt x="4026078" y="694225"/>
                </a:lnTo>
                <a:lnTo>
                  <a:pt x="3974470" y="745995"/>
                </a:lnTo>
                <a:lnTo>
                  <a:pt x="3922863" y="694225"/>
                </a:lnTo>
                <a:close/>
                <a:moveTo>
                  <a:pt x="3974470" y="538699"/>
                </a:moveTo>
                <a:lnTo>
                  <a:pt x="3766688" y="746049"/>
                </a:lnTo>
                <a:lnTo>
                  <a:pt x="3818674" y="797927"/>
                </a:lnTo>
                <a:lnTo>
                  <a:pt x="3870822" y="746211"/>
                </a:lnTo>
                <a:lnTo>
                  <a:pt x="3922592" y="798198"/>
                </a:lnTo>
                <a:lnTo>
                  <a:pt x="3870498" y="850292"/>
                </a:lnTo>
                <a:lnTo>
                  <a:pt x="3922592" y="901846"/>
                </a:lnTo>
                <a:lnTo>
                  <a:pt x="3973498" y="850130"/>
                </a:lnTo>
                <a:lnTo>
                  <a:pt x="4026511" y="901846"/>
                </a:lnTo>
                <a:lnTo>
                  <a:pt x="4078173" y="850130"/>
                </a:lnTo>
                <a:lnTo>
                  <a:pt x="4026511" y="798468"/>
                </a:lnTo>
                <a:lnTo>
                  <a:pt x="4078713" y="746211"/>
                </a:lnTo>
                <a:lnTo>
                  <a:pt x="4130321" y="797927"/>
                </a:lnTo>
                <a:lnTo>
                  <a:pt x="4182037" y="746211"/>
                </a:lnTo>
                <a:close/>
                <a:moveTo>
                  <a:pt x="0" y="0"/>
                </a:moveTo>
                <a:lnTo>
                  <a:pt x="6007100" y="0"/>
                </a:lnTo>
                <a:lnTo>
                  <a:pt x="60071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accent6"/>
          </a:solidFill>
        </p:spPr>
        <p:txBody>
          <a:bodyPr wrap="square">
            <a:noAutofit/>
          </a:bodyPr>
          <a:lstStyle/>
          <a:p>
            <a:r>
              <a:rPr lang="en-US"/>
              <a:t>Click to insert picture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A597281-ABB7-066F-7A10-EF9E1776C1D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39750" y="540001"/>
            <a:ext cx="5465999" cy="38779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Please insert a Headlin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BABAA35-1304-A3EC-A9C3-854E14C4664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Al-Futtaim Template 2025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2D61B8B-D6CA-BCE6-71B4-5C8A439C247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3109594-1B45-46DB-8A0B-416F125317D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7B82DAD-1AFC-2023-BB91-5E7F5BD2C6D0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8285AEC-C5F2-4122-90C7-405310EF48C7}" type="datetime1">
              <a:rPr lang="en-US" smtClean="0"/>
              <a:t>21/08/2025</a:t>
            </a:fld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8B4C8F2A-2924-AB97-B224-E2E3A1F3CEA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39751" y="927799"/>
            <a:ext cx="5465688" cy="388937"/>
          </a:xfrm>
        </p:spPr>
        <p:txBody>
          <a:bodyPr>
            <a:noAutofit/>
          </a:bodyPr>
          <a:lstStyle>
            <a:lvl1pPr>
              <a:defRPr sz="28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Please insert a </a:t>
            </a:r>
            <a:r>
              <a:rPr lang="en-US" dirty="0" err="1"/>
              <a:t>Subheadline</a:t>
            </a:r>
            <a:endParaRPr lang="en-US" dirty="0"/>
          </a:p>
        </p:txBody>
      </p:sp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6CFB16CB-922F-1EB5-FF04-BBE2E08EDD8E}"/>
              </a:ext>
            </a:extLst>
          </p:cNvPr>
          <p:cNvSpPr>
            <a:spLocks noGrp="1"/>
          </p:cNvSpPr>
          <p:nvPr userDrawn="1">
            <p:ph sz="quarter" idx="14" hasCustomPrompt="1"/>
          </p:nvPr>
        </p:nvSpPr>
        <p:spPr>
          <a:xfrm>
            <a:off x="540001" y="1618720"/>
            <a:ext cx="5465999" cy="4426480"/>
          </a:xfrm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Please insert content</a:t>
            </a:r>
          </a:p>
        </p:txBody>
      </p:sp>
    </p:spTree>
    <p:extLst>
      <p:ext uri="{BB962C8B-B14F-4D97-AF65-F5344CB8AC3E}">
        <p14:creationId xmlns:p14="http://schemas.microsoft.com/office/powerpoint/2010/main" val="10363104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83" userDrawn="1">
          <p15:clr>
            <a:srgbClr val="FBAE40"/>
          </p15:clr>
        </p15:guide>
        <p15:guide id="2" pos="3896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Page_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DF0B494-BA15-F2B4-DAD3-A3B2AF6C73B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39748" y="1875367"/>
            <a:ext cx="11112502" cy="1821921"/>
          </a:xfrm>
        </p:spPr>
        <p:txBody>
          <a:bodyPr anchor="b">
            <a:noAutofit/>
          </a:bodyPr>
          <a:lstStyle>
            <a:lvl1pPr algn="l">
              <a:defRPr sz="54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ease insert a Tit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8D95B62-3DC6-BA29-E15A-17D867C811E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39748" y="3970338"/>
            <a:ext cx="11112502" cy="942022"/>
          </a:xfrm>
        </p:spPr>
        <p:txBody>
          <a:bodyPr>
            <a:noAutofit/>
          </a:bodyPr>
          <a:lstStyle>
            <a:lvl1pPr marL="0" indent="0" algn="l">
              <a:buNone/>
              <a:defRPr sz="2800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Division/Trading Entity Name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5F8D7363-2FCC-9FA4-5689-CD0AE7825CD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39749" y="5858230"/>
            <a:ext cx="5556251" cy="184666"/>
          </a:xfrm>
        </p:spPr>
        <p:txBody>
          <a:bodyPr anchor="b">
            <a:spAutoFit/>
          </a:bodyPr>
          <a:lstStyle>
            <a:lvl1pPr>
              <a:defRPr sz="1200"/>
            </a:lvl1pPr>
          </a:lstStyle>
          <a:p>
            <a:pPr lvl="0"/>
            <a:r>
              <a:rPr lang="en-US" dirty="0"/>
              <a:t>Date</a:t>
            </a:r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C94A6121-889B-625F-300B-FA52A95E298E}"/>
              </a:ext>
            </a:extLst>
          </p:cNvPr>
          <p:cNvGrpSpPr/>
          <p:nvPr userDrawn="1"/>
        </p:nvGrpSpPr>
        <p:grpSpPr>
          <a:xfrm>
            <a:off x="538164" y="853208"/>
            <a:ext cx="3585838" cy="764057"/>
            <a:chOff x="538164" y="853208"/>
            <a:chExt cx="3585838" cy="764057"/>
          </a:xfrm>
        </p:grpSpPr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6F6D1DAD-05DF-9AD9-7E5E-DD88E78C0A43}"/>
                </a:ext>
              </a:extLst>
            </p:cNvPr>
            <p:cNvSpPr/>
            <p:nvPr/>
          </p:nvSpPr>
          <p:spPr>
            <a:xfrm>
              <a:off x="1630469" y="1071851"/>
              <a:ext cx="2493533" cy="436490"/>
            </a:xfrm>
            <a:custGeom>
              <a:avLst/>
              <a:gdLst>
                <a:gd name="connsiteX0" fmla="*/ 259606 w 1185143"/>
                <a:gd name="connsiteY0" fmla="*/ 138234 h 207458"/>
                <a:gd name="connsiteX1" fmla="*/ 311539 w 1185143"/>
                <a:gd name="connsiteY1" fmla="*/ 138234 h 207458"/>
                <a:gd name="connsiteX2" fmla="*/ 311539 w 1185143"/>
                <a:gd name="connsiteY2" fmla="*/ 103486 h 207458"/>
                <a:gd name="connsiteX3" fmla="*/ 259606 w 1185143"/>
                <a:gd name="connsiteY3" fmla="*/ 103486 h 207458"/>
                <a:gd name="connsiteX4" fmla="*/ 259606 w 1185143"/>
                <a:gd name="connsiteY4" fmla="*/ 138234 h 207458"/>
                <a:gd name="connsiteX5" fmla="*/ 787196 w 1185143"/>
                <a:gd name="connsiteY5" fmla="*/ 103756 h 207458"/>
                <a:gd name="connsiteX6" fmla="*/ 821943 w 1185143"/>
                <a:gd name="connsiteY6" fmla="*/ 103756 h 207458"/>
                <a:gd name="connsiteX7" fmla="*/ 821943 w 1185143"/>
                <a:gd name="connsiteY7" fmla="*/ 172981 h 207458"/>
                <a:gd name="connsiteX8" fmla="*/ 787196 w 1185143"/>
                <a:gd name="connsiteY8" fmla="*/ 172981 h 207458"/>
                <a:gd name="connsiteX9" fmla="*/ 787196 w 1185143"/>
                <a:gd name="connsiteY9" fmla="*/ 103756 h 207458"/>
                <a:gd name="connsiteX10" fmla="*/ 752718 w 1185143"/>
                <a:gd name="connsiteY10" fmla="*/ 69225 h 207458"/>
                <a:gd name="connsiteX11" fmla="*/ 735318 w 1185143"/>
                <a:gd name="connsiteY11" fmla="*/ 103756 h 207458"/>
                <a:gd name="connsiteX12" fmla="*/ 735318 w 1185143"/>
                <a:gd name="connsiteY12" fmla="*/ 172981 h 207458"/>
                <a:gd name="connsiteX13" fmla="*/ 752718 w 1185143"/>
                <a:gd name="connsiteY13" fmla="*/ 207458 h 207458"/>
                <a:gd name="connsiteX14" fmla="*/ 873821 w 1185143"/>
                <a:gd name="connsiteY14" fmla="*/ 207458 h 207458"/>
                <a:gd name="connsiteX15" fmla="*/ 873821 w 1185143"/>
                <a:gd name="connsiteY15" fmla="*/ 69225 h 207458"/>
                <a:gd name="connsiteX16" fmla="*/ 752718 w 1185143"/>
                <a:gd name="connsiteY16" fmla="*/ 69225 h 207458"/>
                <a:gd name="connsiteX17" fmla="*/ 977577 w 1185143"/>
                <a:gd name="connsiteY17" fmla="*/ 69225 h 207458"/>
                <a:gd name="connsiteX18" fmla="*/ 977577 w 1185143"/>
                <a:gd name="connsiteY18" fmla="*/ 207458 h 207458"/>
                <a:gd name="connsiteX19" fmla="*/ 1029455 w 1185143"/>
                <a:gd name="connsiteY19" fmla="*/ 207458 h 207458"/>
                <a:gd name="connsiteX20" fmla="*/ 1029455 w 1185143"/>
                <a:gd name="connsiteY20" fmla="*/ 103756 h 207458"/>
                <a:gd name="connsiteX21" fmla="*/ 1055394 w 1185143"/>
                <a:gd name="connsiteY21" fmla="*/ 103756 h 207458"/>
                <a:gd name="connsiteX22" fmla="*/ 1055394 w 1185143"/>
                <a:gd name="connsiteY22" fmla="*/ 207458 h 207458"/>
                <a:gd name="connsiteX23" fmla="*/ 1107273 w 1185143"/>
                <a:gd name="connsiteY23" fmla="*/ 207458 h 207458"/>
                <a:gd name="connsiteX24" fmla="*/ 1107273 w 1185143"/>
                <a:gd name="connsiteY24" fmla="*/ 103756 h 207458"/>
                <a:gd name="connsiteX25" fmla="*/ 1133266 w 1185143"/>
                <a:gd name="connsiteY25" fmla="*/ 103756 h 207458"/>
                <a:gd name="connsiteX26" fmla="*/ 1133266 w 1185143"/>
                <a:gd name="connsiteY26" fmla="*/ 207458 h 207458"/>
                <a:gd name="connsiteX27" fmla="*/ 1185144 w 1185143"/>
                <a:gd name="connsiteY27" fmla="*/ 207458 h 207458"/>
                <a:gd name="connsiteX28" fmla="*/ 1185144 w 1185143"/>
                <a:gd name="connsiteY28" fmla="*/ 103756 h 207458"/>
                <a:gd name="connsiteX29" fmla="*/ 1168013 w 1185143"/>
                <a:gd name="connsiteY29" fmla="*/ 69225 h 207458"/>
                <a:gd name="connsiteX30" fmla="*/ 977631 w 1185143"/>
                <a:gd name="connsiteY30" fmla="*/ 69225 h 207458"/>
                <a:gd name="connsiteX31" fmla="*/ 899760 w 1185143"/>
                <a:gd name="connsiteY31" fmla="*/ 207458 h 207458"/>
                <a:gd name="connsiteX32" fmla="*/ 951692 w 1185143"/>
                <a:gd name="connsiteY32" fmla="*/ 207458 h 207458"/>
                <a:gd name="connsiteX33" fmla="*/ 951692 w 1185143"/>
                <a:gd name="connsiteY33" fmla="*/ 69225 h 207458"/>
                <a:gd name="connsiteX34" fmla="*/ 899760 w 1185143"/>
                <a:gd name="connsiteY34" fmla="*/ 69009 h 207458"/>
                <a:gd name="connsiteX35" fmla="*/ 899760 w 1185143"/>
                <a:gd name="connsiteY35" fmla="*/ 207458 h 207458"/>
                <a:gd name="connsiteX36" fmla="*/ 112565 w 1185143"/>
                <a:gd name="connsiteY36" fmla="*/ 34477 h 207458"/>
                <a:gd name="connsiteX37" fmla="*/ 112565 w 1185143"/>
                <a:gd name="connsiteY37" fmla="*/ 103756 h 207458"/>
                <a:gd name="connsiteX38" fmla="*/ 86355 w 1185143"/>
                <a:gd name="connsiteY38" fmla="*/ 103756 h 207458"/>
                <a:gd name="connsiteX39" fmla="*/ 112565 w 1185143"/>
                <a:gd name="connsiteY39" fmla="*/ 34477 h 207458"/>
                <a:gd name="connsiteX40" fmla="*/ 69225 w 1185143"/>
                <a:gd name="connsiteY40" fmla="*/ 0 h 207458"/>
                <a:gd name="connsiteX41" fmla="*/ 0 w 1185143"/>
                <a:gd name="connsiteY41" fmla="*/ 207458 h 207458"/>
                <a:gd name="connsiteX42" fmla="*/ 51878 w 1185143"/>
                <a:gd name="connsiteY42" fmla="*/ 207458 h 207458"/>
                <a:gd name="connsiteX43" fmla="*/ 77817 w 1185143"/>
                <a:gd name="connsiteY43" fmla="*/ 138450 h 207458"/>
                <a:gd name="connsiteX44" fmla="*/ 112565 w 1185143"/>
                <a:gd name="connsiteY44" fmla="*/ 138450 h 207458"/>
                <a:gd name="connsiteX45" fmla="*/ 112565 w 1185143"/>
                <a:gd name="connsiteY45" fmla="*/ 207458 h 207458"/>
                <a:gd name="connsiteX46" fmla="*/ 164443 w 1185143"/>
                <a:gd name="connsiteY46" fmla="*/ 207458 h 207458"/>
                <a:gd name="connsiteX47" fmla="*/ 164443 w 1185143"/>
                <a:gd name="connsiteY47" fmla="*/ 0 h 207458"/>
                <a:gd name="connsiteX48" fmla="*/ 69225 w 1185143"/>
                <a:gd name="connsiteY48" fmla="*/ 0 h 207458"/>
                <a:gd name="connsiteX49" fmla="*/ 190328 w 1185143"/>
                <a:gd name="connsiteY49" fmla="*/ 207458 h 207458"/>
                <a:gd name="connsiteX50" fmla="*/ 242206 w 1185143"/>
                <a:gd name="connsiteY50" fmla="*/ 207458 h 207458"/>
                <a:gd name="connsiteX51" fmla="*/ 242206 w 1185143"/>
                <a:gd name="connsiteY51" fmla="*/ 0 h 207458"/>
                <a:gd name="connsiteX52" fmla="*/ 190328 w 1185143"/>
                <a:gd name="connsiteY52" fmla="*/ 0 h 207458"/>
                <a:gd name="connsiteX53" fmla="*/ 190328 w 1185143"/>
                <a:gd name="connsiteY53" fmla="*/ 207458 h 207458"/>
                <a:gd name="connsiteX54" fmla="*/ 328615 w 1185143"/>
                <a:gd name="connsiteY54" fmla="*/ 0 h 207458"/>
                <a:gd name="connsiteX55" fmla="*/ 328615 w 1185143"/>
                <a:gd name="connsiteY55" fmla="*/ 207458 h 207458"/>
                <a:gd name="connsiteX56" fmla="*/ 380493 w 1185143"/>
                <a:gd name="connsiteY56" fmla="*/ 207458 h 207458"/>
                <a:gd name="connsiteX57" fmla="*/ 380493 w 1185143"/>
                <a:gd name="connsiteY57" fmla="*/ 103756 h 207458"/>
                <a:gd name="connsiteX58" fmla="*/ 415295 w 1185143"/>
                <a:gd name="connsiteY58" fmla="*/ 103756 h 207458"/>
                <a:gd name="connsiteX59" fmla="*/ 415295 w 1185143"/>
                <a:gd name="connsiteY59" fmla="*/ 172981 h 207458"/>
                <a:gd name="connsiteX60" fmla="*/ 432641 w 1185143"/>
                <a:gd name="connsiteY60" fmla="*/ 207458 h 207458"/>
                <a:gd name="connsiteX61" fmla="*/ 553798 w 1185143"/>
                <a:gd name="connsiteY61" fmla="*/ 207458 h 207458"/>
                <a:gd name="connsiteX62" fmla="*/ 553798 w 1185143"/>
                <a:gd name="connsiteY62" fmla="*/ 103756 h 207458"/>
                <a:gd name="connsiteX63" fmla="*/ 579737 w 1185143"/>
                <a:gd name="connsiteY63" fmla="*/ 103756 h 207458"/>
                <a:gd name="connsiteX64" fmla="*/ 579737 w 1185143"/>
                <a:gd name="connsiteY64" fmla="*/ 207458 h 207458"/>
                <a:gd name="connsiteX65" fmla="*/ 631561 w 1185143"/>
                <a:gd name="connsiteY65" fmla="*/ 207458 h 207458"/>
                <a:gd name="connsiteX66" fmla="*/ 631561 w 1185143"/>
                <a:gd name="connsiteY66" fmla="*/ 103756 h 207458"/>
                <a:gd name="connsiteX67" fmla="*/ 657555 w 1185143"/>
                <a:gd name="connsiteY67" fmla="*/ 103756 h 207458"/>
                <a:gd name="connsiteX68" fmla="*/ 657555 w 1185143"/>
                <a:gd name="connsiteY68" fmla="*/ 207458 h 207458"/>
                <a:gd name="connsiteX69" fmla="*/ 709433 w 1185143"/>
                <a:gd name="connsiteY69" fmla="*/ 207458 h 207458"/>
                <a:gd name="connsiteX70" fmla="*/ 709433 w 1185143"/>
                <a:gd name="connsiteY70" fmla="*/ 103756 h 207458"/>
                <a:gd name="connsiteX71" fmla="*/ 735372 w 1185143"/>
                <a:gd name="connsiteY71" fmla="*/ 103756 h 207458"/>
                <a:gd name="connsiteX72" fmla="*/ 735372 w 1185143"/>
                <a:gd name="connsiteY72" fmla="*/ 69225 h 207458"/>
                <a:gd name="connsiteX73" fmla="*/ 709433 w 1185143"/>
                <a:gd name="connsiteY73" fmla="*/ 69225 h 207458"/>
                <a:gd name="connsiteX74" fmla="*/ 709433 w 1185143"/>
                <a:gd name="connsiteY74" fmla="*/ 34477 h 207458"/>
                <a:gd name="connsiteX75" fmla="*/ 657555 w 1185143"/>
                <a:gd name="connsiteY75" fmla="*/ 34477 h 207458"/>
                <a:gd name="connsiteX76" fmla="*/ 657555 w 1185143"/>
                <a:gd name="connsiteY76" fmla="*/ 69225 h 207458"/>
                <a:gd name="connsiteX77" fmla="*/ 631561 w 1185143"/>
                <a:gd name="connsiteY77" fmla="*/ 69225 h 207458"/>
                <a:gd name="connsiteX78" fmla="*/ 631561 w 1185143"/>
                <a:gd name="connsiteY78" fmla="*/ 34477 h 207458"/>
                <a:gd name="connsiteX79" fmla="*/ 579737 w 1185143"/>
                <a:gd name="connsiteY79" fmla="*/ 34477 h 207458"/>
                <a:gd name="connsiteX80" fmla="*/ 579737 w 1185143"/>
                <a:gd name="connsiteY80" fmla="*/ 69225 h 207458"/>
                <a:gd name="connsiteX81" fmla="*/ 501650 w 1185143"/>
                <a:gd name="connsiteY81" fmla="*/ 69225 h 207458"/>
                <a:gd name="connsiteX82" fmla="*/ 501650 w 1185143"/>
                <a:gd name="connsiteY82" fmla="*/ 172927 h 207458"/>
                <a:gd name="connsiteX83" fmla="*/ 467173 w 1185143"/>
                <a:gd name="connsiteY83" fmla="*/ 172927 h 207458"/>
                <a:gd name="connsiteX84" fmla="*/ 467173 w 1185143"/>
                <a:gd name="connsiteY84" fmla="*/ 69225 h 207458"/>
                <a:gd name="connsiteX85" fmla="*/ 380547 w 1185143"/>
                <a:gd name="connsiteY85" fmla="*/ 69225 h 207458"/>
                <a:gd name="connsiteX86" fmla="*/ 380547 w 1185143"/>
                <a:gd name="connsiteY86" fmla="*/ 34477 h 207458"/>
                <a:gd name="connsiteX87" fmla="*/ 467173 w 1185143"/>
                <a:gd name="connsiteY87" fmla="*/ 34477 h 207458"/>
                <a:gd name="connsiteX88" fmla="*/ 467173 w 1185143"/>
                <a:gd name="connsiteY88" fmla="*/ 0 h 207458"/>
                <a:gd name="connsiteX89" fmla="*/ 328669 w 1185143"/>
                <a:gd name="connsiteY89" fmla="*/ 0 h 207458"/>
                <a:gd name="connsiteX90" fmla="*/ 899760 w 1185143"/>
                <a:gd name="connsiteY90" fmla="*/ 34477 h 207458"/>
                <a:gd name="connsiteX91" fmla="*/ 951692 w 1185143"/>
                <a:gd name="connsiteY91" fmla="*/ 34477 h 207458"/>
                <a:gd name="connsiteX92" fmla="*/ 951692 w 1185143"/>
                <a:gd name="connsiteY92" fmla="*/ 0 h 207458"/>
                <a:gd name="connsiteX93" fmla="*/ 899760 w 1185143"/>
                <a:gd name="connsiteY93" fmla="*/ 0 h 207458"/>
                <a:gd name="connsiteX94" fmla="*/ 899760 w 1185143"/>
                <a:gd name="connsiteY94" fmla="*/ 34477 h 2074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</a:cxnLst>
              <a:rect l="l" t="t" r="r" b="b"/>
              <a:pathLst>
                <a:path w="1185143" h="207458">
                  <a:moveTo>
                    <a:pt x="259606" y="138234"/>
                  </a:moveTo>
                  <a:lnTo>
                    <a:pt x="311539" y="138234"/>
                  </a:lnTo>
                  <a:lnTo>
                    <a:pt x="311539" y="103486"/>
                  </a:lnTo>
                  <a:lnTo>
                    <a:pt x="259606" y="103486"/>
                  </a:lnTo>
                  <a:lnTo>
                    <a:pt x="259606" y="138234"/>
                  </a:lnTo>
                  <a:close/>
                  <a:moveTo>
                    <a:pt x="787196" y="103756"/>
                  </a:moveTo>
                  <a:lnTo>
                    <a:pt x="821943" y="103756"/>
                  </a:lnTo>
                  <a:lnTo>
                    <a:pt x="821943" y="172981"/>
                  </a:lnTo>
                  <a:lnTo>
                    <a:pt x="787196" y="172981"/>
                  </a:lnTo>
                  <a:lnTo>
                    <a:pt x="787196" y="103756"/>
                  </a:lnTo>
                  <a:close/>
                  <a:moveTo>
                    <a:pt x="752718" y="69225"/>
                  </a:moveTo>
                  <a:lnTo>
                    <a:pt x="735318" y="103756"/>
                  </a:lnTo>
                  <a:lnTo>
                    <a:pt x="735318" y="172981"/>
                  </a:lnTo>
                  <a:lnTo>
                    <a:pt x="752718" y="207458"/>
                  </a:lnTo>
                  <a:lnTo>
                    <a:pt x="873821" y="207458"/>
                  </a:lnTo>
                  <a:lnTo>
                    <a:pt x="873821" y="69225"/>
                  </a:lnTo>
                  <a:lnTo>
                    <a:pt x="752718" y="69225"/>
                  </a:lnTo>
                  <a:close/>
                  <a:moveTo>
                    <a:pt x="977577" y="69225"/>
                  </a:moveTo>
                  <a:lnTo>
                    <a:pt x="977577" y="207458"/>
                  </a:lnTo>
                  <a:lnTo>
                    <a:pt x="1029455" y="207458"/>
                  </a:lnTo>
                  <a:lnTo>
                    <a:pt x="1029455" y="103756"/>
                  </a:lnTo>
                  <a:lnTo>
                    <a:pt x="1055394" y="103756"/>
                  </a:lnTo>
                  <a:lnTo>
                    <a:pt x="1055394" y="207458"/>
                  </a:lnTo>
                  <a:lnTo>
                    <a:pt x="1107273" y="207458"/>
                  </a:lnTo>
                  <a:lnTo>
                    <a:pt x="1107273" y="103756"/>
                  </a:lnTo>
                  <a:lnTo>
                    <a:pt x="1133266" y="103756"/>
                  </a:lnTo>
                  <a:lnTo>
                    <a:pt x="1133266" y="207458"/>
                  </a:lnTo>
                  <a:lnTo>
                    <a:pt x="1185144" y="207458"/>
                  </a:lnTo>
                  <a:lnTo>
                    <a:pt x="1185144" y="103756"/>
                  </a:lnTo>
                  <a:lnTo>
                    <a:pt x="1168013" y="69225"/>
                  </a:lnTo>
                  <a:lnTo>
                    <a:pt x="977631" y="69225"/>
                  </a:lnTo>
                  <a:close/>
                  <a:moveTo>
                    <a:pt x="899760" y="207458"/>
                  </a:moveTo>
                  <a:lnTo>
                    <a:pt x="951692" y="207458"/>
                  </a:lnTo>
                  <a:lnTo>
                    <a:pt x="951692" y="69225"/>
                  </a:lnTo>
                  <a:lnTo>
                    <a:pt x="899760" y="69009"/>
                  </a:lnTo>
                  <a:lnTo>
                    <a:pt x="899760" y="207458"/>
                  </a:lnTo>
                  <a:close/>
                  <a:moveTo>
                    <a:pt x="112565" y="34477"/>
                  </a:moveTo>
                  <a:lnTo>
                    <a:pt x="112565" y="103756"/>
                  </a:lnTo>
                  <a:lnTo>
                    <a:pt x="86355" y="103756"/>
                  </a:lnTo>
                  <a:lnTo>
                    <a:pt x="112565" y="34477"/>
                  </a:lnTo>
                  <a:close/>
                  <a:moveTo>
                    <a:pt x="69225" y="0"/>
                  </a:moveTo>
                  <a:lnTo>
                    <a:pt x="0" y="207458"/>
                  </a:lnTo>
                  <a:lnTo>
                    <a:pt x="51878" y="207458"/>
                  </a:lnTo>
                  <a:lnTo>
                    <a:pt x="77817" y="138450"/>
                  </a:lnTo>
                  <a:lnTo>
                    <a:pt x="112565" y="138450"/>
                  </a:lnTo>
                  <a:lnTo>
                    <a:pt x="112565" y="207458"/>
                  </a:lnTo>
                  <a:lnTo>
                    <a:pt x="164443" y="207458"/>
                  </a:lnTo>
                  <a:lnTo>
                    <a:pt x="164443" y="0"/>
                  </a:lnTo>
                  <a:lnTo>
                    <a:pt x="69225" y="0"/>
                  </a:lnTo>
                  <a:close/>
                  <a:moveTo>
                    <a:pt x="190328" y="207458"/>
                  </a:moveTo>
                  <a:lnTo>
                    <a:pt x="242206" y="207458"/>
                  </a:lnTo>
                  <a:lnTo>
                    <a:pt x="242206" y="0"/>
                  </a:lnTo>
                  <a:lnTo>
                    <a:pt x="190328" y="0"/>
                  </a:lnTo>
                  <a:lnTo>
                    <a:pt x="190328" y="207458"/>
                  </a:lnTo>
                  <a:close/>
                  <a:moveTo>
                    <a:pt x="328615" y="0"/>
                  </a:moveTo>
                  <a:lnTo>
                    <a:pt x="328615" y="207458"/>
                  </a:lnTo>
                  <a:lnTo>
                    <a:pt x="380493" y="207458"/>
                  </a:lnTo>
                  <a:lnTo>
                    <a:pt x="380493" y="103756"/>
                  </a:lnTo>
                  <a:lnTo>
                    <a:pt x="415295" y="103756"/>
                  </a:lnTo>
                  <a:lnTo>
                    <a:pt x="415295" y="172981"/>
                  </a:lnTo>
                  <a:lnTo>
                    <a:pt x="432641" y="207458"/>
                  </a:lnTo>
                  <a:lnTo>
                    <a:pt x="553798" y="207458"/>
                  </a:lnTo>
                  <a:lnTo>
                    <a:pt x="553798" y="103756"/>
                  </a:lnTo>
                  <a:lnTo>
                    <a:pt x="579737" y="103756"/>
                  </a:lnTo>
                  <a:lnTo>
                    <a:pt x="579737" y="207458"/>
                  </a:lnTo>
                  <a:lnTo>
                    <a:pt x="631561" y="207458"/>
                  </a:lnTo>
                  <a:lnTo>
                    <a:pt x="631561" y="103756"/>
                  </a:lnTo>
                  <a:lnTo>
                    <a:pt x="657555" y="103756"/>
                  </a:lnTo>
                  <a:lnTo>
                    <a:pt x="657555" y="207458"/>
                  </a:lnTo>
                  <a:lnTo>
                    <a:pt x="709433" y="207458"/>
                  </a:lnTo>
                  <a:lnTo>
                    <a:pt x="709433" y="103756"/>
                  </a:lnTo>
                  <a:lnTo>
                    <a:pt x="735372" y="103756"/>
                  </a:lnTo>
                  <a:lnTo>
                    <a:pt x="735372" y="69225"/>
                  </a:lnTo>
                  <a:lnTo>
                    <a:pt x="709433" y="69225"/>
                  </a:lnTo>
                  <a:lnTo>
                    <a:pt x="709433" y="34477"/>
                  </a:lnTo>
                  <a:lnTo>
                    <a:pt x="657555" y="34477"/>
                  </a:lnTo>
                  <a:lnTo>
                    <a:pt x="657555" y="69225"/>
                  </a:lnTo>
                  <a:lnTo>
                    <a:pt x="631561" y="69225"/>
                  </a:lnTo>
                  <a:lnTo>
                    <a:pt x="631561" y="34477"/>
                  </a:lnTo>
                  <a:lnTo>
                    <a:pt x="579737" y="34477"/>
                  </a:lnTo>
                  <a:lnTo>
                    <a:pt x="579737" y="69225"/>
                  </a:lnTo>
                  <a:lnTo>
                    <a:pt x="501650" y="69225"/>
                  </a:lnTo>
                  <a:lnTo>
                    <a:pt x="501650" y="172927"/>
                  </a:lnTo>
                  <a:lnTo>
                    <a:pt x="467173" y="172927"/>
                  </a:lnTo>
                  <a:lnTo>
                    <a:pt x="467173" y="69225"/>
                  </a:lnTo>
                  <a:lnTo>
                    <a:pt x="380547" y="69225"/>
                  </a:lnTo>
                  <a:lnTo>
                    <a:pt x="380547" y="34477"/>
                  </a:lnTo>
                  <a:lnTo>
                    <a:pt x="467173" y="34477"/>
                  </a:lnTo>
                  <a:lnTo>
                    <a:pt x="467173" y="0"/>
                  </a:lnTo>
                  <a:lnTo>
                    <a:pt x="328669" y="0"/>
                  </a:lnTo>
                  <a:close/>
                  <a:moveTo>
                    <a:pt x="899760" y="34477"/>
                  </a:moveTo>
                  <a:lnTo>
                    <a:pt x="951692" y="34477"/>
                  </a:lnTo>
                  <a:lnTo>
                    <a:pt x="951692" y="0"/>
                  </a:lnTo>
                  <a:lnTo>
                    <a:pt x="899760" y="0"/>
                  </a:lnTo>
                  <a:lnTo>
                    <a:pt x="899760" y="34477"/>
                  </a:lnTo>
                  <a:close/>
                </a:path>
              </a:pathLst>
            </a:custGeom>
            <a:solidFill>
              <a:srgbClr val="004F9F"/>
            </a:solidFill>
            <a:ln w="538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23B3ADD2-B7B2-47A7-DF0B-4995540F41E0}"/>
                </a:ext>
              </a:extLst>
            </p:cNvPr>
            <p:cNvSpPr/>
            <p:nvPr/>
          </p:nvSpPr>
          <p:spPr>
            <a:xfrm>
              <a:off x="538164" y="853208"/>
              <a:ext cx="873889" cy="764057"/>
            </a:xfrm>
            <a:custGeom>
              <a:avLst/>
              <a:gdLst>
                <a:gd name="connsiteX0" fmla="*/ 156175 w 415348"/>
                <a:gd name="connsiteY0" fmla="*/ 155526 h 363146"/>
                <a:gd name="connsiteX1" fmla="*/ 207782 w 415348"/>
                <a:gd name="connsiteY1" fmla="*/ 103864 h 363146"/>
                <a:gd name="connsiteX2" fmla="*/ 259390 w 415348"/>
                <a:gd name="connsiteY2" fmla="*/ 155526 h 363146"/>
                <a:gd name="connsiteX3" fmla="*/ 207782 w 415348"/>
                <a:gd name="connsiteY3" fmla="*/ 207296 h 363146"/>
                <a:gd name="connsiteX4" fmla="*/ 156175 w 415348"/>
                <a:gd name="connsiteY4" fmla="*/ 155526 h 363146"/>
                <a:gd name="connsiteX5" fmla="*/ 207782 w 415348"/>
                <a:gd name="connsiteY5" fmla="*/ 0 h 363146"/>
                <a:gd name="connsiteX6" fmla="*/ 0 w 415348"/>
                <a:gd name="connsiteY6" fmla="*/ 207350 h 363146"/>
                <a:gd name="connsiteX7" fmla="*/ 51986 w 415348"/>
                <a:gd name="connsiteY7" fmla="*/ 259228 h 363146"/>
                <a:gd name="connsiteX8" fmla="*/ 104134 w 415348"/>
                <a:gd name="connsiteY8" fmla="*/ 207512 h 363146"/>
                <a:gd name="connsiteX9" fmla="*/ 155904 w 415348"/>
                <a:gd name="connsiteY9" fmla="*/ 259499 h 363146"/>
                <a:gd name="connsiteX10" fmla="*/ 103810 w 415348"/>
                <a:gd name="connsiteY10" fmla="*/ 311593 h 363146"/>
                <a:gd name="connsiteX11" fmla="*/ 155904 w 415348"/>
                <a:gd name="connsiteY11" fmla="*/ 363147 h 363146"/>
                <a:gd name="connsiteX12" fmla="*/ 206810 w 415348"/>
                <a:gd name="connsiteY12" fmla="*/ 311431 h 363146"/>
                <a:gd name="connsiteX13" fmla="*/ 259823 w 415348"/>
                <a:gd name="connsiteY13" fmla="*/ 363147 h 363146"/>
                <a:gd name="connsiteX14" fmla="*/ 311485 w 415348"/>
                <a:gd name="connsiteY14" fmla="*/ 311431 h 363146"/>
                <a:gd name="connsiteX15" fmla="*/ 259823 w 415348"/>
                <a:gd name="connsiteY15" fmla="*/ 259769 h 363146"/>
                <a:gd name="connsiteX16" fmla="*/ 312025 w 415348"/>
                <a:gd name="connsiteY16" fmla="*/ 207512 h 363146"/>
                <a:gd name="connsiteX17" fmla="*/ 363633 w 415348"/>
                <a:gd name="connsiteY17" fmla="*/ 259228 h 363146"/>
                <a:gd name="connsiteX18" fmla="*/ 415349 w 415348"/>
                <a:gd name="connsiteY18" fmla="*/ 207512 h 363146"/>
                <a:gd name="connsiteX19" fmla="*/ 207782 w 415348"/>
                <a:gd name="connsiteY19" fmla="*/ 0 h 3631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415348" h="363146">
                  <a:moveTo>
                    <a:pt x="156175" y="155526"/>
                  </a:moveTo>
                  <a:lnTo>
                    <a:pt x="207782" y="103864"/>
                  </a:lnTo>
                  <a:lnTo>
                    <a:pt x="259390" y="155526"/>
                  </a:lnTo>
                  <a:lnTo>
                    <a:pt x="207782" y="207296"/>
                  </a:lnTo>
                  <a:lnTo>
                    <a:pt x="156175" y="155526"/>
                  </a:lnTo>
                  <a:close/>
                  <a:moveTo>
                    <a:pt x="207782" y="0"/>
                  </a:moveTo>
                  <a:lnTo>
                    <a:pt x="0" y="207350"/>
                  </a:lnTo>
                  <a:lnTo>
                    <a:pt x="51986" y="259228"/>
                  </a:lnTo>
                  <a:lnTo>
                    <a:pt x="104134" y="207512"/>
                  </a:lnTo>
                  <a:lnTo>
                    <a:pt x="155904" y="259499"/>
                  </a:lnTo>
                  <a:lnTo>
                    <a:pt x="103810" y="311593"/>
                  </a:lnTo>
                  <a:lnTo>
                    <a:pt x="155904" y="363147"/>
                  </a:lnTo>
                  <a:lnTo>
                    <a:pt x="206810" y="311431"/>
                  </a:lnTo>
                  <a:lnTo>
                    <a:pt x="259823" y="363147"/>
                  </a:lnTo>
                  <a:lnTo>
                    <a:pt x="311485" y="311431"/>
                  </a:lnTo>
                  <a:lnTo>
                    <a:pt x="259823" y="259769"/>
                  </a:lnTo>
                  <a:lnTo>
                    <a:pt x="312025" y="207512"/>
                  </a:lnTo>
                  <a:lnTo>
                    <a:pt x="363633" y="259228"/>
                  </a:lnTo>
                  <a:lnTo>
                    <a:pt x="415349" y="207512"/>
                  </a:lnTo>
                  <a:lnTo>
                    <a:pt x="207782" y="0"/>
                  </a:lnTo>
                  <a:close/>
                </a:path>
              </a:pathLst>
            </a:custGeom>
            <a:solidFill>
              <a:schemeClr val="accent2"/>
            </a:solidFill>
            <a:ln w="538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2037832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98" userDrawn="1">
          <p15:clr>
            <a:srgbClr val="FBAE40"/>
          </p15:clr>
        </p15:guide>
        <p15:guide id="3" orient="horz" pos="2500" userDrawn="1">
          <p15:clr>
            <a:srgbClr val="FBAE40"/>
          </p15:clr>
        </p15:guide>
        <p15:guide id="4" orient="horz" pos="2329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plit Content image_dark_2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" name="Group 14">
            <a:extLst>
              <a:ext uri="{FF2B5EF4-FFF2-40B4-BE49-F238E27FC236}">
                <a16:creationId xmlns:a16="http://schemas.microsoft.com/office/drawing/2014/main" id="{82E22475-5AA0-F2C0-0102-83ECDF348C1B}"/>
              </a:ext>
            </a:extLst>
          </p:cNvPr>
          <p:cNvGrpSpPr/>
          <p:nvPr userDrawn="1"/>
        </p:nvGrpSpPr>
        <p:grpSpPr>
          <a:xfrm>
            <a:off x="9951588" y="538699"/>
            <a:ext cx="1704301" cy="363146"/>
            <a:chOff x="9951588" y="538699"/>
            <a:chExt cx="1704301" cy="363146"/>
          </a:xfrm>
          <a:solidFill>
            <a:schemeClr val="bg1"/>
          </a:solidFill>
        </p:grpSpPr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98DF0A99-91B5-7C8B-95D4-7A1C654B58C5}"/>
                </a:ext>
              </a:extLst>
            </p:cNvPr>
            <p:cNvSpPr/>
            <p:nvPr/>
          </p:nvSpPr>
          <p:spPr>
            <a:xfrm>
              <a:off x="10470746" y="642617"/>
              <a:ext cx="1185143" cy="207458"/>
            </a:xfrm>
            <a:custGeom>
              <a:avLst/>
              <a:gdLst>
                <a:gd name="connsiteX0" fmla="*/ 259606 w 1185143"/>
                <a:gd name="connsiteY0" fmla="*/ 138234 h 207458"/>
                <a:gd name="connsiteX1" fmla="*/ 311539 w 1185143"/>
                <a:gd name="connsiteY1" fmla="*/ 138234 h 207458"/>
                <a:gd name="connsiteX2" fmla="*/ 311539 w 1185143"/>
                <a:gd name="connsiteY2" fmla="*/ 103486 h 207458"/>
                <a:gd name="connsiteX3" fmla="*/ 259606 w 1185143"/>
                <a:gd name="connsiteY3" fmla="*/ 103486 h 207458"/>
                <a:gd name="connsiteX4" fmla="*/ 259606 w 1185143"/>
                <a:gd name="connsiteY4" fmla="*/ 138234 h 207458"/>
                <a:gd name="connsiteX5" fmla="*/ 787196 w 1185143"/>
                <a:gd name="connsiteY5" fmla="*/ 103756 h 207458"/>
                <a:gd name="connsiteX6" fmla="*/ 821943 w 1185143"/>
                <a:gd name="connsiteY6" fmla="*/ 103756 h 207458"/>
                <a:gd name="connsiteX7" fmla="*/ 821943 w 1185143"/>
                <a:gd name="connsiteY7" fmla="*/ 172981 h 207458"/>
                <a:gd name="connsiteX8" fmla="*/ 787196 w 1185143"/>
                <a:gd name="connsiteY8" fmla="*/ 172981 h 207458"/>
                <a:gd name="connsiteX9" fmla="*/ 787196 w 1185143"/>
                <a:gd name="connsiteY9" fmla="*/ 103756 h 207458"/>
                <a:gd name="connsiteX10" fmla="*/ 752718 w 1185143"/>
                <a:gd name="connsiteY10" fmla="*/ 69225 h 207458"/>
                <a:gd name="connsiteX11" fmla="*/ 735318 w 1185143"/>
                <a:gd name="connsiteY11" fmla="*/ 103756 h 207458"/>
                <a:gd name="connsiteX12" fmla="*/ 735318 w 1185143"/>
                <a:gd name="connsiteY12" fmla="*/ 172981 h 207458"/>
                <a:gd name="connsiteX13" fmla="*/ 752718 w 1185143"/>
                <a:gd name="connsiteY13" fmla="*/ 207458 h 207458"/>
                <a:gd name="connsiteX14" fmla="*/ 873821 w 1185143"/>
                <a:gd name="connsiteY14" fmla="*/ 207458 h 207458"/>
                <a:gd name="connsiteX15" fmla="*/ 873821 w 1185143"/>
                <a:gd name="connsiteY15" fmla="*/ 69225 h 207458"/>
                <a:gd name="connsiteX16" fmla="*/ 752718 w 1185143"/>
                <a:gd name="connsiteY16" fmla="*/ 69225 h 207458"/>
                <a:gd name="connsiteX17" fmla="*/ 977577 w 1185143"/>
                <a:gd name="connsiteY17" fmla="*/ 69225 h 207458"/>
                <a:gd name="connsiteX18" fmla="*/ 977577 w 1185143"/>
                <a:gd name="connsiteY18" fmla="*/ 207458 h 207458"/>
                <a:gd name="connsiteX19" fmla="*/ 1029455 w 1185143"/>
                <a:gd name="connsiteY19" fmla="*/ 207458 h 207458"/>
                <a:gd name="connsiteX20" fmla="*/ 1029455 w 1185143"/>
                <a:gd name="connsiteY20" fmla="*/ 103756 h 207458"/>
                <a:gd name="connsiteX21" fmla="*/ 1055394 w 1185143"/>
                <a:gd name="connsiteY21" fmla="*/ 103756 h 207458"/>
                <a:gd name="connsiteX22" fmla="*/ 1055394 w 1185143"/>
                <a:gd name="connsiteY22" fmla="*/ 207458 h 207458"/>
                <a:gd name="connsiteX23" fmla="*/ 1107273 w 1185143"/>
                <a:gd name="connsiteY23" fmla="*/ 207458 h 207458"/>
                <a:gd name="connsiteX24" fmla="*/ 1107273 w 1185143"/>
                <a:gd name="connsiteY24" fmla="*/ 103756 h 207458"/>
                <a:gd name="connsiteX25" fmla="*/ 1133266 w 1185143"/>
                <a:gd name="connsiteY25" fmla="*/ 103756 h 207458"/>
                <a:gd name="connsiteX26" fmla="*/ 1133266 w 1185143"/>
                <a:gd name="connsiteY26" fmla="*/ 207458 h 207458"/>
                <a:gd name="connsiteX27" fmla="*/ 1185144 w 1185143"/>
                <a:gd name="connsiteY27" fmla="*/ 207458 h 207458"/>
                <a:gd name="connsiteX28" fmla="*/ 1185144 w 1185143"/>
                <a:gd name="connsiteY28" fmla="*/ 103756 h 207458"/>
                <a:gd name="connsiteX29" fmla="*/ 1168013 w 1185143"/>
                <a:gd name="connsiteY29" fmla="*/ 69225 h 207458"/>
                <a:gd name="connsiteX30" fmla="*/ 977631 w 1185143"/>
                <a:gd name="connsiteY30" fmla="*/ 69225 h 207458"/>
                <a:gd name="connsiteX31" fmla="*/ 899760 w 1185143"/>
                <a:gd name="connsiteY31" fmla="*/ 207458 h 207458"/>
                <a:gd name="connsiteX32" fmla="*/ 951692 w 1185143"/>
                <a:gd name="connsiteY32" fmla="*/ 207458 h 207458"/>
                <a:gd name="connsiteX33" fmla="*/ 951692 w 1185143"/>
                <a:gd name="connsiteY33" fmla="*/ 69225 h 207458"/>
                <a:gd name="connsiteX34" fmla="*/ 899760 w 1185143"/>
                <a:gd name="connsiteY34" fmla="*/ 69009 h 207458"/>
                <a:gd name="connsiteX35" fmla="*/ 899760 w 1185143"/>
                <a:gd name="connsiteY35" fmla="*/ 207458 h 207458"/>
                <a:gd name="connsiteX36" fmla="*/ 112565 w 1185143"/>
                <a:gd name="connsiteY36" fmla="*/ 34477 h 207458"/>
                <a:gd name="connsiteX37" fmla="*/ 112565 w 1185143"/>
                <a:gd name="connsiteY37" fmla="*/ 103756 h 207458"/>
                <a:gd name="connsiteX38" fmla="*/ 86355 w 1185143"/>
                <a:gd name="connsiteY38" fmla="*/ 103756 h 207458"/>
                <a:gd name="connsiteX39" fmla="*/ 112565 w 1185143"/>
                <a:gd name="connsiteY39" fmla="*/ 34477 h 207458"/>
                <a:gd name="connsiteX40" fmla="*/ 69225 w 1185143"/>
                <a:gd name="connsiteY40" fmla="*/ 0 h 207458"/>
                <a:gd name="connsiteX41" fmla="*/ 0 w 1185143"/>
                <a:gd name="connsiteY41" fmla="*/ 207458 h 207458"/>
                <a:gd name="connsiteX42" fmla="*/ 51878 w 1185143"/>
                <a:gd name="connsiteY42" fmla="*/ 207458 h 207458"/>
                <a:gd name="connsiteX43" fmla="*/ 77817 w 1185143"/>
                <a:gd name="connsiteY43" fmla="*/ 138450 h 207458"/>
                <a:gd name="connsiteX44" fmla="*/ 112565 w 1185143"/>
                <a:gd name="connsiteY44" fmla="*/ 138450 h 207458"/>
                <a:gd name="connsiteX45" fmla="*/ 112565 w 1185143"/>
                <a:gd name="connsiteY45" fmla="*/ 207458 h 207458"/>
                <a:gd name="connsiteX46" fmla="*/ 164443 w 1185143"/>
                <a:gd name="connsiteY46" fmla="*/ 207458 h 207458"/>
                <a:gd name="connsiteX47" fmla="*/ 164443 w 1185143"/>
                <a:gd name="connsiteY47" fmla="*/ 0 h 207458"/>
                <a:gd name="connsiteX48" fmla="*/ 69225 w 1185143"/>
                <a:gd name="connsiteY48" fmla="*/ 0 h 207458"/>
                <a:gd name="connsiteX49" fmla="*/ 190328 w 1185143"/>
                <a:gd name="connsiteY49" fmla="*/ 207458 h 207458"/>
                <a:gd name="connsiteX50" fmla="*/ 242206 w 1185143"/>
                <a:gd name="connsiteY50" fmla="*/ 207458 h 207458"/>
                <a:gd name="connsiteX51" fmla="*/ 242206 w 1185143"/>
                <a:gd name="connsiteY51" fmla="*/ 0 h 207458"/>
                <a:gd name="connsiteX52" fmla="*/ 190328 w 1185143"/>
                <a:gd name="connsiteY52" fmla="*/ 0 h 207458"/>
                <a:gd name="connsiteX53" fmla="*/ 190328 w 1185143"/>
                <a:gd name="connsiteY53" fmla="*/ 207458 h 207458"/>
                <a:gd name="connsiteX54" fmla="*/ 328615 w 1185143"/>
                <a:gd name="connsiteY54" fmla="*/ 0 h 207458"/>
                <a:gd name="connsiteX55" fmla="*/ 328615 w 1185143"/>
                <a:gd name="connsiteY55" fmla="*/ 207458 h 207458"/>
                <a:gd name="connsiteX56" fmla="*/ 380493 w 1185143"/>
                <a:gd name="connsiteY56" fmla="*/ 207458 h 207458"/>
                <a:gd name="connsiteX57" fmla="*/ 380493 w 1185143"/>
                <a:gd name="connsiteY57" fmla="*/ 103756 h 207458"/>
                <a:gd name="connsiteX58" fmla="*/ 415295 w 1185143"/>
                <a:gd name="connsiteY58" fmla="*/ 103756 h 207458"/>
                <a:gd name="connsiteX59" fmla="*/ 415295 w 1185143"/>
                <a:gd name="connsiteY59" fmla="*/ 172981 h 207458"/>
                <a:gd name="connsiteX60" fmla="*/ 432641 w 1185143"/>
                <a:gd name="connsiteY60" fmla="*/ 207458 h 207458"/>
                <a:gd name="connsiteX61" fmla="*/ 553798 w 1185143"/>
                <a:gd name="connsiteY61" fmla="*/ 207458 h 207458"/>
                <a:gd name="connsiteX62" fmla="*/ 553798 w 1185143"/>
                <a:gd name="connsiteY62" fmla="*/ 103756 h 207458"/>
                <a:gd name="connsiteX63" fmla="*/ 579737 w 1185143"/>
                <a:gd name="connsiteY63" fmla="*/ 103756 h 207458"/>
                <a:gd name="connsiteX64" fmla="*/ 579737 w 1185143"/>
                <a:gd name="connsiteY64" fmla="*/ 207458 h 207458"/>
                <a:gd name="connsiteX65" fmla="*/ 631561 w 1185143"/>
                <a:gd name="connsiteY65" fmla="*/ 207458 h 207458"/>
                <a:gd name="connsiteX66" fmla="*/ 631561 w 1185143"/>
                <a:gd name="connsiteY66" fmla="*/ 103756 h 207458"/>
                <a:gd name="connsiteX67" fmla="*/ 657555 w 1185143"/>
                <a:gd name="connsiteY67" fmla="*/ 103756 h 207458"/>
                <a:gd name="connsiteX68" fmla="*/ 657555 w 1185143"/>
                <a:gd name="connsiteY68" fmla="*/ 207458 h 207458"/>
                <a:gd name="connsiteX69" fmla="*/ 709433 w 1185143"/>
                <a:gd name="connsiteY69" fmla="*/ 207458 h 207458"/>
                <a:gd name="connsiteX70" fmla="*/ 709433 w 1185143"/>
                <a:gd name="connsiteY70" fmla="*/ 103756 h 207458"/>
                <a:gd name="connsiteX71" fmla="*/ 735372 w 1185143"/>
                <a:gd name="connsiteY71" fmla="*/ 103756 h 207458"/>
                <a:gd name="connsiteX72" fmla="*/ 735372 w 1185143"/>
                <a:gd name="connsiteY72" fmla="*/ 69225 h 207458"/>
                <a:gd name="connsiteX73" fmla="*/ 709433 w 1185143"/>
                <a:gd name="connsiteY73" fmla="*/ 69225 h 207458"/>
                <a:gd name="connsiteX74" fmla="*/ 709433 w 1185143"/>
                <a:gd name="connsiteY74" fmla="*/ 34477 h 207458"/>
                <a:gd name="connsiteX75" fmla="*/ 657555 w 1185143"/>
                <a:gd name="connsiteY75" fmla="*/ 34477 h 207458"/>
                <a:gd name="connsiteX76" fmla="*/ 657555 w 1185143"/>
                <a:gd name="connsiteY76" fmla="*/ 69225 h 207458"/>
                <a:gd name="connsiteX77" fmla="*/ 631561 w 1185143"/>
                <a:gd name="connsiteY77" fmla="*/ 69225 h 207458"/>
                <a:gd name="connsiteX78" fmla="*/ 631561 w 1185143"/>
                <a:gd name="connsiteY78" fmla="*/ 34477 h 207458"/>
                <a:gd name="connsiteX79" fmla="*/ 579737 w 1185143"/>
                <a:gd name="connsiteY79" fmla="*/ 34477 h 207458"/>
                <a:gd name="connsiteX80" fmla="*/ 579737 w 1185143"/>
                <a:gd name="connsiteY80" fmla="*/ 69225 h 207458"/>
                <a:gd name="connsiteX81" fmla="*/ 501650 w 1185143"/>
                <a:gd name="connsiteY81" fmla="*/ 69225 h 207458"/>
                <a:gd name="connsiteX82" fmla="*/ 501650 w 1185143"/>
                <a:gd name="connsiteY82" fmla="*/ 172927 h 207458"/>
                <a:gd name="connsiteX83" fmla="*/ 467173 w 1185143"/>
                <a:gd name="connsiteY83" fmla="*/ 172927 h 207458"/>
                <a:gd name="connsiteX84" fmla="*/ 467173 w 1185143"/>
                <a:gd name="connsiteY84" fmla="*/ 69225 h 207458"/>
                <a:gd name="connsiteX85" fmla="*/ 380547 w 1185143"/>
                <a:gd name="connsiteY85" fmla="*/ 69225 h 207458"/>
                <a:gd name="connsiteX86" fmla="*/ 380547 w 1185143"/>
                <a:gd name="connsiteY86" fmla="*/ 34477 h 207458"/>
                <a:gd name="connsiteX87" fmla="*/ 467173 w 1185143"/>
                <a:gd name="connsiteY87" fmla="*/ 34477 h 207458"/>
                <a:gd name="connsiteX88" fmla="*/ 467173 w 1185143"/>
                <a:gd name="connsiteY88" fmla="*/ 0 h 207458"/>
                <a:gd name="connsiteX89" fmla="*/ 328669 w 1185143"/>
                <a:gd name="connsiteY89" fmla="*/ 0 h 207458"/>
                <a:gd name="connsiteX90" fmla="*/ 899760 w 1185143"/>
                <a:gd name="connsiteY90" fmla="*/ 34477 h 207458"/>
                <a:gd name="connsiteX91" fmla="*/ 951692 w 1185143"/>
                <a:gd name="connsiteY91" fmla="*/ 34477 h 207458"/>
                <a:gd name="connsiteX92" fmla="*/ 951692 w 1185143"/>
                <a:gd name="connsiteY92" fmla="*/ 0 h 207458"/>
                <a:gd name="connsiteX93" fmla="*/ 899760 w 1185143"/>
                <a:gd name="connsiteY93" fmla="*/ 0 h 207458"/>
                <a:gd name="connsiteX94" fmla="*/ 899760 w 1185143"/>
                <a:gd name="connsiteY94" fmla="*/ 34477 h 2074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</a:cxnLst>
              <a:rect l="l" t="t" r="r" b="b"/>
              <a:pathLst>
                <a:path w="1185143" h="207458">
                  <a:moveTo>
                    <a:pt x="259606" y="138234"/>
                  </a:moveTo>
                  <a:lnTo>
                    <a:pt x="311539" y="138234"/>
                  </a:lnTo>
                  <a:lnTo>
                    <a:pt x="311539" y="103486"/>
                  </a:lnTo>
                  <a:lnTo>
                    <a:pt x="259606" y="103486"/>
                  </a:lnTo>
                  <a:lnTo>
                    <a:pt x="259606" y="138234"/>
                  </a:lnTo>
                  <a:close/>
                  <a:moveTo>
                    <a:pt x="787196" y="103756"/>
                  </a:moveTo>
                  <a:lnTo>
                    <a:pt x="821943" y="103756"/>
                  </a:lnTo>
                  <a:lnTo>
                    <a:pt x="821943" y="172981"/>
                  </a:lnTo>
                  <a:lnTo>
                    <a:pt x="787196" y="172981"/>
                  </a:lnTo>
                  <a:lnTo>
                    <a:pt x="787196" y="103756"/>
                  </a:lnTo>
                  <a:close/>
                  <a:moveTo>
                    <a:pt x="752718" y="69225"/>
                  </a:moveTo>
                  <a:lnTo>
                    <a:pt x="735318" y="103756"/>
                  </a:lnTo>
                  <a:lnTo>
                    <a:pt x="735318" y="172981"/>
                  </a:lnTo>
                  <a:lnTo>
                    <a:pt x="752718" y="207458"/>
                  </a:lnTo>
                  <a:lnTo>
                    <a:pt x="873821" y="207458"/>
                  </a:lnTo>
                  <a:lnTo>
                    <a:pt x="873821" y="69225"/>
                  </a:lnTo>
                  <a:lnTo>
                    <a:pt x="752718" y="69225"/>
                  </a:lnTo>
                  <a:close/>
                  <a:moveTo>
                    <a:pt x="977577" y="69225"/>
                  </a:moveTo>
                  <a:lnTo>
                    <a:pt x="977577" y="207458"/>
                  </a:lnTo>
                  <a:lnTo>
                    <a:pt x="1029455" y="207458"/>
                  </a:lnTo>
                  <a:lnTo>
                    <a:pt x="1029455" y="103756"/>
                  </a:lnTo>
                  <a:lnTo>
                    <a:pt x="1055394" y="103756"/>
                  </a:lnTo>
                  <a:lnTo>
                    <a:pt x="1055394" y="207458"/>
                  </a:lnTo>
                  <a:lnTo>
                    <a:pt x="1107273" y="207458"/>
                  </a:lnTo>
                  <a:lnTo>
                    <a:pt x="1107273" y="103756"/>
                  </a:lnTo>
                  <a:lnTo>
                    <a:pt x="1133266" y="103756"/>
                  </a:lnTo>
                  <a:lnTo>
                    <a:pt x="1133266" y="207458"/>
                  </a:lnTo>
                  <a:lnTo>
                    <a:pt x="1185144" y="207458"/>
                  </a:lnTo>
                  <a:lnTo>
                    <a:pt x="1185144" y="103756"/>
                  </a:lnTo>
                  <a:lnTo>
                    <a:pt x="1168013" y="69225"/>
                  </a:lnTo>
                  <a:lnTo>
                    <a:pt x="977631" y="69225"/>
                  </a:lnTo>
                  <a:close/>
                  <a:moveTo>
                    <a:pt x="899760" y="207458"/>
                  </a:moveTo>
                  <a:lnTo>
                    <a:pt x="951692" y="207458"/>
                  </a:lnTo>
                  <a:lnTo>
                    <a:pt x="951692" y="69225"/>
                  </a:lnTo>
                  <a:lnTo>
                    <a:pt x="899760" y="69009"/>
                  </a:lnTo>
                  <a:lnTo>
                    <a:pt x="899760" y="207458"/>
                  </a:lnTo>
                  <a:close/>
                  <a:moveTo>
                    <a:pt x="112565" y="34477"/>
                  </a:moveTo>
                  <a:lnTo>
                    <a:pt x="112565" y="103756"/>
                  </a:lnTo>
                  <a:lnTo>
                    <a:pt x="86355" y="103756"/>
                  </a:lnTo>
                  <a:lnTo>
                    <a:pt x="112565" y="34477"/>
                  </a:lnTo>
                  <a:close/>
                  <a:moveTo>
                    <a:pt x="69225" y="0"/>
                  </a:moveTo>
                  <a:lnTo>
                    <a:pt x="0" y="207458"/>
                  </a:lnTo>
                  <a:lnTo>
                    <a:pt x="51878" y="207458"/>
                  </a:lnTo>
                  <a:lnTo>
                    <a:pt x="77817" y="138450"/>
                  </a:lnTo>
                  <a:lnTo>
                    <a:pt x="112565" y="138450"/>
                  </a:lnTo>
                  <a:lnTo>
                    <a:pt x="112565" y="207458"/>
                  </a:lnTo>
                  <a:lnTo>
                    <a:pt x="164443" y="207458"/>
                  </a:lnTo>
                  <a:lnTo>
                    <a:pt x="164443" y="0"/>
                  </a:lnTo>
                  <a:lnTo>
                    <a:pt x="69225" y="0"/>
                  </a:lnTo>
                  <a:close/>
                  <a:moveTo>
                    <a:pt x="190328" y="207458"/>
                  </a:moveTo>
                  <a:lnTo>
                    <a:pt x="242206" y="207458"/>
                  </a:lnTo>
                  <a:lnTo>
                    <a:pt x="242206" y="0"/>
                  </a:lnTo>
                  <a:lnTo>
                    <a:pt x="190328" y="0"/>
                  </a:lnTo>
                  <a:lnTo>
                    <a:pt x="190328" y="207458"/>
                  </a:lnTo>
                  <a:close/>
                  <a:moveTo>
                    <a:pt x="328615" y="0"/>
                  </a:moveTo>
                  <a:lnTo>
                    <a:pt x="328615" y="207458"/>
                  </a:lnTo>
                  <a:lnTo>
                    <a:pt x="380493" y="207458"/>
                  </a:lnTo>
                  <a:lnTo>
                    <a:pt x="380493" y="103756"/>
                  </a:lnTo>
                  <a:lnTo>
                    <a:pt x="415295" y="103756"/>
                  </a:lnTo>
                  <a:lnTo>
                    <a:pt x="415295" y="172981"/>
                  </a:lnTo>
                  <a:lnTo>
                    <a:pt x="432641" y="207458"/>
                  </a:lnTo>
                  <a:lnTo>
                    <a:pt x="553798" y="207458"/>
                  </a:lnTo>
                  <a:lnTo>
                    <a:pt x="553798" y="103756"/>
                  </a:lnTo>
                  <a:lnTo>
                    <a:pt x="579737" y="103756"/>
                  </a:lnTo>
                  <a:lnTo>
                    <a:pt x="579737" y="207458"/>
                  </a:lnTo>
                  <a:lnTo>
                    <a:pt x="631561" y="207458"/>
                  </a:lnTo>
                  <a:lnTo>
                    <a:pt x="631561" y="103756"/>
                  </a:lnTo>
                  <a:lnTo>
                    <a:pt x="657555" y="103756"/>
                  </a:lnTo>
                  <a:lnTo>
                    <a:pt x="657555" y="207458"/>
                  </a:lnTo>
                  <a:lnTo>
                    <a:pt x="709433" y="207458"/>
                  </a:lnTo>
                  <a:lnTo>
                    <a:pt x="709433" y="103756"/>
                  </a:lnTo>
                  <a:lnTo>
                    <a:pt x="735372" y="103756"/>
                  </a:lnTo>
                  <a:lnTo>
                    <a:pt x="735372" y="69225"/>
                  </a:lnTo>
                  <a:lnTo>
                    <a:pt x="709433" y="69225"/>
                  </a:lnTo>
                  <a:lnTo>
                    <a:pt x="709433" y="34477"/>
                  </a:lnTo>
                  <a:lnTo>
                    <a:pt x="657555" y="34477"/>
                  </a:lnTo>
                  <a:lnTo>
                    <a:pt x="657555" y="69225"/>
                  </a:lnTo>
                  <a:lnTo>
                    <a:pt x="631561" y="69225"/>
                  </a:lnTo>
                  <a:lnTo>
                    <a:pt x="631561" y="34477"/>
                  </a:lnTo>
                  <a:lnTo>
                    <a:pt x="579737" y="34477"/>
                  </a:lnTo>
                  <a:lnTo>
                    <a:pt x="579737" y="69225"/>
                  </a:lnTo>
                  <a:lnTo>
                    <a:pt x="501650" y="69225"/>
                  </a:lnTo>
                  <a:lnTo>
                    <a:pt x="501650" y="172927"/>
                  </a:lnTo>
                  <a:lnTo>
                    <a:pt x="467173" y="172927"/>
                  </a:lnTo>
                  <a:lnTo>
                    <a:pt x="467173" y="69225"/>
                  </a:lnTo>
                  <a:lnTo>
                    <a:pt x="380547" y="69225"/>
                  </a:lnTo>
                  <a:lnTo>
                    <a:pt x="380547" y="34477"/>
                  </a:lnTo>
                  <a:lnTo>
                    <a:pt x="467173" y="34477"/>
                  </a:lnTo>
                  <a:lnTo>
                    <a:pt x="467173" y="0"/>
                  </a:lnTo>
                  <a:lnTo>
                    <a:pt x="328669" y="0"/>
                  </a:lnTo>
                  <a:close/>
                  <a:moveTo>
                    <a:pt x="899760" y="34477"/>
                  </a:moveTo>
                  <a:lnTo>
                    <a:pt x="951692" y="34477"/>
                  </a:lnTo>
                  <a:lnTo>
                    <a:pt x="951692" y="0"/>
                  </a:lnTo>
                  <a:lnTo>
                    <a:pt x="899760" y="0"/>
                  </a:lnTo>
                  <a:lnTo>
                    <a:pt x="899760" y="34477"/>
                  </a:lnTo>
                  <a:close/>
                </a:path>
              </a:pathLst>
            </a:custGeom>
            <a:grpFill/>
            <a:ln w="538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18B7952A-89C0-D564-994E-FA9124E6506C}"/>
                </a:ext>
              </a:extLst>
            </p:cNvPr>
            <p:cNvSpPr/>
            <p:nvPr/>
          </p:nvSpPr>
          <p:spPr>
            <a:xfrm>
              <a:off x="9951588" y="538699"/>
              <a:ext cx="415348" cy="363146"/>
            </a:xfrm>
            <a:custGeom>
              <a:avLst/>
              <a:gdLst>
                <a:gd name="connsiteX0" fmla="*/ 156175 w 415348"/>
                <a:gd name="connsiteY0" fmla="*/ 155526 h 363146"/>
                <a:gd name="connsiteX1" fmla="*/ 207782 w 415348"/>
                <a:gd name="connsiteY1" fmla="*/ 103864 h 363146"/>
                <a:gd name="connsiteX2" fmla="*/ 259390 w 415348"/>
                <a:gd name="connsiteY2" fmla="*/ 155526 h 363146"/>
                <a:gd name="connsiteX3" fmla="*/ 207782 w 415348"/>
                <a:gd name="connsiteY3" fmla="*/ 207296 h 363146"/>
                <a:gd name="connsiteX4" fmla="*/ 156175 w 415348"/>
                <a:gd name="connsiteY4" fmla="*/ 155526 h 363146"/>
                <a:gd name="connsiteX5" fmla="*/ 207782 w 415348"/>
                <a:gd name="connsiteY5" fmla="*/ 0 h 363146"/>
                <a:gd name="connsiteX6" fmla="*/ 0 w 415348"/>
                <a:gd name="connsiteY6" fmla="*/ 207350 h 363146"/>
                <a:gd name="connsiteX7" fmla="*/ 51986 w 415348"/>
                <a:gd name="connsiteY7" fmla="*/ 259228 h 363146"/>
                <a:gd name="connsiteX8" fmla="*/ 104134 w 415348"/>
                <a:gd name="connsiteY8" fmla="*/ 207512 h 363146"/>
                <a:gd name="connsiteX9" fmla="*/ 155904 w 415348"/>
                <a:gd name="connsiteY9" fmla="*/ 259499 h 363146"/>
                <a:gd name="connsiteX10" fmla="*/ 103810 w 415348"/>
                <a:gd name="connsiteY10" fmla="*/ 311593 h 363146"/>
                <a:gd name="connsiteX11" fmla="*/ 155904 w 415348"/>
                <a:gd name="connsiteY11" fmla="*/ 363147 h 363146"/>
                <a:gd name="connsiteX12" fmla="*/ 206810 w 415348"/>
                <a:gd name="connsiteY12" fmla="*/ 311431 h 363146"/>
                <a:gd name="connsiteX13" fmla="*/ 259823 w 415348"/>
                <a:gd name="connsiteY13" fmla="*/ 363147 h 363146"/>
                <a:gd name="connsiteX14" fmla="*/ 311485 w 415348"/>
                <a:gd name="connsiteY14" fmla="*/ 311431 h 363146"/>
                <a:gd name="connsiteX15" fmla="*/ 259823 w 415348"/>
                <a:gd name="connsiteY15" fmla="*/ 259769 h 363146"/>
                <a:gd name="connsiteX16" fmla="*/ 312025 w 415348"/>
                <a:gd name="connsiteY16" fmla="*/ 207512 h 363146"/>
                <a:gd name="connsiteX17" fmla="*/ 363633 w 415348"/>
                <a:gd name="connsiteY17" fmla="*/ 259228 h 363146"/>
                <a:gd name="connsiteX18" fmla="*/ 415349 w 415348"/>
                <a:gd name="connsiteY18" fmla="*/ 207512 h 363146"/>
                <a:gd name="connsiteX19" fmla="*/ 207782 w 415348"/>
                <a:gd name="connsiteY19" fmla="*/ 0 h 3631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415348" h="363146">
                  <a:moveTo>
                    <a:pt x="156175" y="155526"/>
                  </a:moveTo>
                  <a:lnTo>
                    <a:pt x="207782" y="103864"/>
                  </a:lnTo>
                  <a:lnTo>
                    <a:pt x="259390" y="155526"/>
                  </a:lnTo>
                  <a:lnTo>
                    <a:pt x="207782" y="207296"/>
                  </a:lnTo>
                  <a:lnTo>
                    <a:pt x="156175" y="155526"/>
                  </a:lnTo>
                  <a:close/>
                  <a:moveTo>
                    <a:pt x="207782" y="0"/>
                  </a:moveTo>
                  <a:lnTo>
                    <a:pt x="0" y="207350"/>
                  </a:lnTo>
                  <a:lnTo>
                    <a:pt x="51986" y="259228"/>
                  </a:lnTo>
                  <a:lnTo>
                    <a:pt x="104134" y="207512"/>
                  </a:lnTo>
                  <a:lnTo>
                    <a:pt x="155904" y="259499"/>
                  </a:lnTo>
                  <a:lnTo>
                    <a:pt x="103810" y="311593"/>
                  </a:lnTo>
                  <a:lnTo>
                    <a:pt x="155904" y="363147"/>
                  </a:lnTo>
                  <a:lnTo>
                    <a:pt x="206810" y="311431"/>
                  </a:lnTo>
                  <a:lnTo>
                    <a:pt x="259823" y="363147"/>
                  </a:lnTo>
                  <a:lnTo>
                    <a:pt x="311485" y="311431"/>
                  </a:lnTo>
                  <a:lnTo>
                    <a:pt x="259823" y="259769"/>
                  </a:lnTo>
                  <a:lnTo>
                    <a:pt x="312025" y="207512"/>
                  </a:lnTo>
                  <a:lnTo>
                    <a:pt x="363633" y="259228"/>
                  </a:lnTo>
                  <a:lnTo>
                    <a:pt x="415349" y="207512"/>
                  </a:lnTo>
                  <a:lnTo>
                    <a:pt x="207782" y="0"/>
                  </a:lnTo>
                  <a:close/>
                </a:path>
              </a:pathLst>
            </a:custGeom>
            <a:grpFill/>
            <a:ln w="538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12E37481-81B7-DAE5-9279-A2E3EA447BE6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184900" y="0"/>
            <a:ext cx="6007100" cy="6858000"/>
          </a:xfrm>
          <a:custGeom>
            <a:avLst/>
            <a:gdLst>
              <a:gd name="connsiteX0" fmla="*/ 5073042 w 6007100"/>
              <a:gd name="connsiteY0" fmla="*/ 746373 h 6858000"/>
              <a:gd name="connsiteX1" fmla="*/ 5107789 w 6007100"/>
              <a:gd name="connsiteY1" fmla="*/ 746373 h 6858000"/>
              <a:gd name="connsiteX2" fmla="*/ 5107789 w 6007100"/>
              <a:gd name="connsiteY2" fmla="*/ 815598 h 6858000"/>
              <a:gd name="connsiteX3" fmla="*/ 5073042 w 6007100"/>
              <a:gd name="connsiteY3" fmla="*/ 815598 h 6858000"/>
              <a:gd name="connsiteX4" fmla="*/ 5021218 w 6007100"/>
              <a:gd name="connsiteY4" fmla="*/ 746266 h 6858000"/>
              <a:gd name="connsiteX5" fmla="*/ 5021218 w 6007100"/>
              <a:gd name="connsiteY5" fmla="*/ 746373 h 6858000"/>
              <a:gd name="connsiteX6" fmla="*/ 5021164 w 6007100"/>
              <a:gd name="connsiteY6" fmla="*/ 746373 h 6858000"/>
              <a:gd name="connsiteX7" fmla="*/ 4545452 w 6007100"/>
              <a:gd name="connsiteY7" fmla="*/ 746103 h 6858000"/>
              <a:gd name="connsiteX8" fmla="*/ 4545452 w 6007100"/>
              <a:gd name="connsiteY8" fmla="*/ 780851 h 6858000"/>
              <a:gd name="connsiteX9" fmla="*/ 4597385 w 6007100"/>
              <a:gd name="connsiteY9" fmla="*/ 780851 h 6858000"/>
              <a:gd name="connsiteX10" fmla="*/ 4597385 w 6007100"/>
              <a:gd name="connsiteY10" fmla="*/ 746103 h 6858000"/>
              <a:gd name="connsiteX11" fmla="*/ 5263423 w 6007100"/>
              <a:gd name="connsiteY11" fmla="*/ 711842 h 6858000"/>
              <a:gd name="connsiteX12" fmla="*/ 5263423 w 6007100"/>
              <a:gd name="connsiteY12" fmla="*/ 850075 h 6858000"/>
              <a:gd name="connsiteX13" fmla="*/ 5315301 w 6007100"/>
              <a:gd name="connsiteY13" fmla="*/ 850075 h 6858000"/>
              <a:gd name="connsiteX14" fmla="*/ 5315301 w 6007100"/>
              <a:gd name="connsiteY14" fmla="*/ 746373 h 6858000"/>
              <a:gd name="connsiteX15" fmla="*/ 5341240 w 6007100"/>
              <a:gd name="connsiteY15" fmla="*/ 746373 h 6858000"/>
              <a:gd name="connsiteX16" fmla="*/ 5341240 w 6007100"/>
              <a:gd name="connsiteY16" fmla="*/ 850075 h 6858000"/>
              <a:gd name="connsiteX17" fmla="*/ 5393119 w 6007100"/>
              <a:gd name="connsiteY17" fmla="*/ 850075 h 6858000"/>
              <a:gd name="connsiteX18" fmla="*/ 5393119 w 6007100"/>
              <a:gd name="connsiteY18" fmla="*/ 746373 h 6858000"/>
              <a:gd name="connsiteX19" fmla="*/ 5419112 w 6007100"/>
              <a:gd name="connsiteY19" fmla="*/ 746373 h 6858000"/>
              <a:gd name="connsiteX20" fmla="*/ 5419112 w 6007100"/>
              <a:gd name="connsiteY20" fmla="*/ 850075 h 6858000"/>
              <a:gd name="connsiteX21" fmla="*/ 5470990 w 6007100"/>
              <a:gd name="connsiteY21" fmla="*/ 850075 h 6858000"/>
              <a:gd name="connsiteX22" fmla="*/ 5470990 w 6007100"/>
              <a:gd name="connsiteY22" fmla="*/ 746373 h 6858000"/>
              <a:gd name="connsiteX23" fmla="*/ 5453859 w 6007100"/>
              <a:gd name="connsiteY23" fmla="*/ 711842 h 6858000"/>
              <a:gd name="connsiteX24" fmla="*/ 5263477 w 6007100"/>
              <a:gd name="connsiteY24" fmla="*/ 711842 h 6858000"/>
              <a:gd name="connsiteX25" fmla="*/ 5185606 w 6007100"/>
              <a:gd name="connsiteY25" fmla="*/ 711626 h 6858000"/>
              <a:gd name="connsiteX26" fmla="*/ 5185606 w 6007100"/>
              <a:gd name="connsiteY26" fmla="*/ 850075 h 6858000"/>
              <a:gd name="connsiteX27" fmla="*/ 5237538 w 6007100"/>
              <a:gd name="connsiteY27" fmla="*/ 850075 h 6858000"/>
              <a:gd name="connsiteX28" fmla="*/ 5237538 w 6007100"/>
              <a:gd name="connsiteY28" fmla="*/ 711842 h 6858000"/>
              <a:gd name="connsiteX29" fmla="*/ 4398411 w 6007100"/>
              <a:gd name="connsiteY29" fmla="*/ 677094 h 6858000"/>
              <a:gd name="connsiteX30" fmla="*/ 4398411 w 6007100"/>
              <a:gd name="connsiteY30" fmla="*/ 746373 h 6858000"/>
              <a:gd name="connsiteX31" fmla="*/ 4372201 w 6007100"/>
              <a:gd name="connsiteY31" fmla="*/ 746373 h 6858000"/>
              <a:gd name="connsiteX32" fmla="*/ 5185606 w 6007100"/>
              <a:gd name="connsiteY32" fmla="*/ 642617 h 6858000"/>
              <a:gd name="connsiteX33" fmla="*/ 5185606 w 6007100"/>
              <a:gd name="connsiteY33" fmla="*/ 677094 h 6858000"/>
              <a:gd name="connsiteX34" fmla="*/ 5237538 w 6007100"/>
              <a:gd name="connsiteY34" fmla="*/ 677094 h 6858000"/>
              <a:gd name="connsiteX35" fmla="*/ 5237538 w 6007100"/>
              <a:gd name="connsiteY35" fmla="*/ 642617 h 6858000"/>
              <a:gd name="connsiteX36" fmla="*/ 4614461 w 6007100"/>
              <a:gd name="connsiteY36" fmla="*/ 642617 h 6858000"/>
              <a:gd name="connsiteX37" fmla="*/ 4614461 w 6007100"/>
              <a:gd name="connsiteY37" fmla="*/ 850075 h 6858000"/>
              <a:gd name="connsiteX38" fmla="*/ 4666339 w 6007100"/>
              <a:gd name="connsiteY38" fmla="*/ 850075 h 6858000"/>
              <a:gd name="connsiteX39" fmla="*/ 4666339 w 6007100"/>
              <a:gd name="connsiteY39" fmla="*/ 746373 h 6858000"/>
              <a:gd name="connsiteX40" fmla="*/ 4701141 w 6007100"/>
              <a:gd name="connsiteY40" fmla="*/ 746373 h 6858000"/>
              <a:gd name="connsiteX41" fmla="*/ 4701141 w 6007100"/>
              <a:gd name="connsiteY41" fmla="*/ 815598 h 6858000"/>
              <a:gd name="connsiteX42" fmla="*/ 4718487 w 6007100"/>
              <a:gd name="connsiteY42" fmla="*/ 850075 h 6858000"/>
              <a:gd name="connsiteX43" fmla="*/ 4839644 w 6007100"/>
              <a:gd name="connsiteY43" fmla="*/ 850075 h 6858000"/>
              <a:gd name="connsiteX44" fmla="*/ 4839644 w 6007100"/>
              <a:gd name="connsiteY44" fmla="*/ 746373 h 6858000"/>
              <a:gd name="connsiteX45" fmla="*/ 4865583 w 6007100"/>
              <a:gd name="connsiteY45" fmla="*/ 746373 h 6858000"/>
              <a:gd name="connsiteX46" fmla="*/ 4865583 w 6007100"/>
              <a:gd name="connsiteY46" fmla="*/ 850075 h 6858000"/>
              <a:gd name="connsiteX47" fmla="*/ 4917407 w 6007100"/>
              <a:gd name="connsiteY47" fmla="*/ 850075 h 6858000"/>
              <a:gd name="connsiteX48" fmla="*/ 4917407 w 6007100"/>
              <a:gd name="connsiteY48" fmla="*/ 746373 h 6858000"/>
              <a:gd name="connsiteX49" fmla="*/ 4943401 w 6007100"/>
              <a:gd name="connsiteY49" fmla="*/ 746373 h 6858000"/>
              <a:gd name="connsiteX50" fmla="*/ 4943401 w 6007100"/>
              <a:gd name="connsiteY50" fmla="*/ 850075 h 6858000"/>
              <a:gd name="connsiteX51" fmla="*/ 4995279 w 6007100"/>
              <a:gd name="connsiteY51" fmla="*/ 850075 h 6858000"/>
              <a:gd name="connsiteX52" fmla="*/ 4995279 w 6007100"/>
              <a:gd name="connsiteY52" fmla="*/ 746373 h 6858000"/>
              <a:gd name="connsiteX53" fmla="*/ 5021164 w 6007100"/>
              <a:gd name="connsiteY53" fmla="*/ 746373 h 6858000"/>
              <a:gd name="connsiteX54" fmla="*/ 5021164 w 6007100"/>
              <a:gd name="connsiteY54" fmla="*/ 815598 h 6858000"/>
              <a:gd name="connsiteX55" fmla="*/ 5038564 w 6007100"/>
              <a:gd name="connsiteY55" fmla="*/ 850075 h 6858000"/>
              <a:gd name="connsiteX56" fmla="*/ 5159667 w 6007100"/>
              <a:gd name="connsiteY56" fmla="*/ 850075 h 6858000"/>
              <a:gd name="connsiteX57" fmla="*/ 5159667 w 6007100"/>
              <a:gd name="connsiteY57" fmla="*/ 711842 h 6858000"/>
              <a:gd name="connsiteX58" fmla="*/ 5038564 w 6007100"/>
              <a:gd name="connsiteY58" fmla="*/ 711842 h 6858000"/>
              <a:gd name="connsiteX59" fmla="*/ 5021218 w 6007100"/>
              <a:gd name="connsiteY59" fmla="*/ 746266 h 6858000"/>
              <a:gd name="connsiteX60" fmla="*/ 5021218 w 6007100"/>
              <a:gd name="connsiteY60" fmla="*/ 711842 h 6858000"/>
              <a:gd name="connsiteX61" fmla="*/ 4995279 w 6007100"/>
              <a:gd name="connsiteY61" fmla="*/ 711842 h 6858000"/>
              <a:gd name="connsiteX62" fmla="*/ 4995279 w 6007100"/>
              <a:gd name="connsiteY62" fmla="*/ 677094 h 6858000"/>
              <a:gd name="connsiteX63" fmla="*/ 4943401 w 6007100"/>
              <a:gd name="connsiteY63" fmla="*/ 677094 h 6858000"/>
              <a:gd name="connsiteX64" fmla="*/ 4943401 w 6007100"/>
              <a:gd name="connsiteY64" fmla="*/ 711842 h 6858000"/>
              <a:gd name="connsiteX65" fmla="*/ 4917407 w 6007100"/>
              <a:gd name="connsiteY65" fmla="*/ 711842 h 6858000"/>
              <a:gd name="connsiteX66" fmla="*/ 4917407 w 6007100"/>
              <a:gd name="connsiteY66" fmla="*/ 677094 h 6858000"/>
              <a:gd name="connsiteX67" fmla="*/ 4865583 w 6007100"/>
              <a:gd name="connsiteY67" fmla="*/ 677094 h 6858000"/>
              <a:gd name="connsiteX68" fmla="*/ 4865583 w 6007100"/>
              <a:gd name="connsiteY68" fmla="*/ 711842 h 6858000"/>
              <a:gd name="connsiteX69" fmla="*/ 4787496 w 6007100"/>
              <a:gd name="connsiteY69" fmla="*/ 711842 h 6858000"/>
              <a:gd name="connsiteX70" fmla="*/ 4787496 w 6007100"/>
              <a:gd name="connsiteY70" fmla="*/ 815544 h 6858000"/>
              <a:gd name="connsiteX71" fmla="*/ 4753019 w 6007100"/>
              <a:gd name="connsiteY71" fmla="*/ 815544 h 6858000"/>
              <a:gd name="connsiteX72" fmla="*/ 4753019 w 6007100"/>
              <a:gd name="connsiteY72" fmla="*/ 711842 h 6858000"/>
              <a:gd name="connsiteX73" fmla="*/ 4666393 w 6007100"/>
              <a:gd name="connsiteY73" fmla="*/ 711842 h 6858000"/>
              <a:gd name="connsiteX74" fmla="*/ 4666393 w 6007100"/>
              <a:gd name="connsiteY74" fmla="*/ 677094 h 6858000"/>
              <a:gd name="connsiteX75" fmla="*/ 4753019 w 6007100"/>
              <a:gd name="connsiteY75" fmla="*/ 677094 h 6858000"/>
              <a:gd name="connsiteX76" fmla="*/ 4753019 w 6007100"/>
              <a:gd name="connsiteY76" fmla="*/ 642617 h 6858000"/>
              <a:gd name="connsiteX77" fmla="*/ 4614515 w 6007100"/>
              <a:gd name="connsiteY77" fmla="*/ 642617 h 6858000"/>
              <a:gd name="connsiteX78" fmla="*/ 4476174 w 6007100"/>
              <a:gd name="connsiteY78" fmla="*/ 642617 h 6858000"/>
              <a:gd name="connsiteX79" fmla="*/ 4476174 w 6007100"/>
              <a:gd name="connsiteY79" fmla="*/ 850075 h 6858000"/>
              <a:gd name="connsiteX80" fmla="*/ 4528052 w 6007100"/>
              <a:gd name="connsiteY80" fmla="*/ 850075 h 6858000"/>
              <a:gd name="connsiteX81" fmla="*/ 4528052 w 6007100"/>
              <a:gd name="connsiteY81" fmla="*/ 642617 h 6858000"/>
              <a:gd name="connsiteX82" fmla="*/ 4355071 w 6007100"/>
              <a:gd name="connsiteY82" fmla="*/ 642617 h 6858000"/>
              <a:gd name="connsiteX83" fmla="*/ 4285846 w 6007100"/>
              <a:gd name="connsiteY83" fmla="*/ 850075 h 6858000"/>
              <a:gd name="connsiteX84" fmla="*/ 4337724 w 6007100"/>
              <a:gd name="connsiteY84" fmla="*/ 850075 h 6858000"/>
              <a:gd name="connsiteX85" fmla="*/ 4363663 w 6007100"/>
              <a:gd name="connsiteY85" fmla="*/ 781067 h 6858000"/>
              <a:gd name="connsiteX86" fmla="*/ 4398411 w 6007100"/>
              <a:gd name="connsiteY86" fmla="*/ 781067 h 6858000"/>
              <a:gd name="connsiteX87" fmla="*/ 4398411 w 6007100"/>
              <a:gd name="connsiteY87" fmla="*/ 850075 h 6858000"/>
              <a:gd name="connsiteX88" fmla="*/ 4450289 w 6007100"/>
              <a:gd name="connsiteY88" fmla="*/ 850075 h 6858000"/>
              <a:gd name="connsiteX89" fmla="*/ 4450289 w 6007100"/>
              <a:gd name="connsiteY89" fmla="*/ 642617 h 6858000"/>
              <a:gd name="connsiteX90" fmla="*/ 3974470 w 6007100"/>
              <a:gd name="connsiteY90" fmla="*/ 642563 h 6858000"/>
              <a:gd name="connsiteX91" fmla="*/ 4026078 w 6007100"/>
              <a:gd name="connsiteY91" fmla="*/ 694225 h 6858000"/>
              <a:gd name="connsiteX92" fmla="*/ 3974470 w 6007100"/>
              <a:gd name="connsiteY92" fmla="*/ 745995 h 6858000"/>
              <a:gd name="connsiteX93" fmla="*/ 3922863 w 6007100"/>
              <a:gd name="connsiteY93" fmla="*/ 694225 h 6858000"/>
              <a:gd name="connsiteX94" fmla="*/ 3974470 w 6007100"/>
              <a:gd name="connsiteY94" fmla="*/ 538699 h 6858000"/>
              <a:gd name="connsiteX95" fmla="*/ 3766688 w 6007100"/>
              <a:gd name="connsiteY95" fmla="*/ 746049 h 6858000"/>
              <a:gd name="connsiteX96" fmla="*/ 3818674 w 6007100"/>
              <a:gd name="connsiteY96" fmla="*/ 797927 h 6858000"/>
              <a:gd name="connsiteX97" fmla="*/ 3870822 w 6007100"/>
              <a:gd name="connsiteY97" fmla="*/ 746211 h 6858000"/>
              <a:gd name="connsiteX98" fmla="*/ 3922592 w 6007100"/>
              <a:gd name="connsiteY98" fmla="*/ 798198 h 6858000"/>
              <a:gd name="connsiteX99" fmla="*/ 3870498 w 6007100"/>
              <a:gd name="connsiteY99" fmla="*/ 850292 h 6858000"/>
              <a:gd name="connsiteX100" fmla="*/ 3922592 w 6007100"/>
              <a:gd name="connsiteY100" fmla="*/ 901846 h 6858000"/>
              <a:gd name="connsiteX101" fmla="*/ 3973498 w 6007100"/>
              <a:gd name="connsiteY101" fmla="*/ 850130 h 6858000"/>
              <a:gd name="connsiteX102" fmla="*/ 4026511 w 6007100"/>
              <a:gd name="connsiteY102" fmla="*/ 901846 h 6858000"/>
              <a:gd name="connsiteX103" fmla="*/ 4078173 w 6007100"/>
              <a:gd name="connsiteY103" fmla="*/ 850130 h 6858000"/>
              <a:gd name="connsiteX104" fmla="*/ 4026511 w 6007100"/>
              <a:gd name="connsiteY104" fmla="*/ 798468 h 6858000"/>
              <a:gd name="connsiteX105" fmla="*/ 4078713 w 6007100"/>
              <a:gd name="connsiteY105" fmla="*/ 746211 h 6858000"/>
              <a:gd name="connsiteX106" fmla="*/ 4130321 w 6007100"/>
              <a:gd name="connsiteY106" fmla="*/ 797927 h 6858000"/>
              <a:gd name="connsiteX107" fmla="*/ 4182037 w 6007100"/>
              <a:gd name="connsiteY107" fmla="*/ 746211 h 6858000"/>
              <a:gd name="connsiteX108" fmla="*/ 0 w 6007100"/>
              <a:gd name="connsiteY108" fmla="*/ 0 h 6858000"/>
              <a:gd name="connsiteX109" fmla="*/ 6007100 w 6007100"/>
              <a:gd name="connsiteY109" fmla="*/ 0 h 6858000"/>
              <a:gd name="connsiteX110" fmla="*/ 6007100 w 6007100"/>
              <a:gd name="connsiteY110" fmla="*/ 6858000 h 6858000"/>
              <a:gd name="connsiteX111" fmla="*/ 0 w 6007100"/>
              <a:gd name="connsiteY111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</a:cxnLst>
            <a:rect l="l" t="t" r="r" b="b"/>
            <a:pathLst>
              <a:path w="6007100" h="6858000">
                <a:moveTo>
                  <a:pt x="5073042" y="746373"/>
                </a:moveTo>
                <a:lnTo>
                  <a:pt x="5107789" y="746373"/>
                </a:lnTo>
                <a:lnTo>
                  <a:pt x="5107789" y="815598"/>
                </a:lnTo>
                <a:lnTo>
                  <a:pt x="5073042" y="815598"/>
                </a:lnTo>
                <a:close/>
                <a:moveTo>
                  <a:pt x="5021218" y="746266"/>
                </a:moveTo>
                <a:lnTo>
                  <a:pt x="5021218" y="746373"/>
                </a:lnTo>
                <a:lnTo>
                  <a:pt x="5021164" y="746373"/>
                </a:lnTo>
                <a:close/>
                <a:moveTo>
                  <a:pt x="4545452" y="746103"/>
                </a:moveTo>
                <a:lnTo>
                  <a:pt x="4545452" y="780851"/>
                </a:lnTo>
                <a:lnTo>
                  <a:pt x="4597385" y="780851"/>
                </a:lnTo>
                <a:lnTo>
                  <a:pt x="4597385" y="746103"/>
                </a:lnTo>
                <a:close/>
                <a:moveTo>
                  <a:pt x="5263423" y="711842"/>
                </a:moveTo>
                <a:lnTo>
                  <a:pt x="5263423" y="850075"/>
                </a:lnTo>
                <a:lnTo>
                  <a:pt x="5315301" y="850075"/>
                </a:lnTo>
                <a:lnTo>
                  <a:pt x="5315301" y="746373"/>
                </a:lnTo>
                <a:lnTo>
                  <a:pt x="5341240" y="746373"/>
                </a:lnTo>
                <a:lnTo>
                  <a:pt x="5341240" y="850075"/>
                </a:lnTo>
                <a:lnTo>
                  <a:pt x="5393119" y="850075"/>
                </a:lnTo>
                <a:lnTo>
                  <a:pt x="5393119" y="746373"/>
                </a:lnTo>
                <a:lnTo>
                  <a:pt x="5419112" y="746373"/>
                </a:lnTo>
                <a:lnTo>
                  <a:pt x="5419112" y="850075"/>
                </a:lnTo>
                <a:lnTo>
                  <a:pt x="5470990" y="850075"/>
                </a:lnTo>
                <a:lnTo>
                  <a:pt x="5470990" y="746373"/>
                </a:lnTo>
                <a:lnTo>
                  <a:pt x="5453859" y="711842"/>
                </a:lnTo>
                <a:lnTo>
                  <a:pt x="5263477" y="711842"/>
                </a:lnTo>
                <a:close/>
                <a:moveTo>
                  <a:pt x="5185606" y="711626"/>
                </a:moveTo>
                <a:lnTo>
                  <a:pt x="5185606" y="850075"/>
                </a:lnTo>
                <a:lnTo>
                  <a:pt x="5237538" y="850075"/>
                </a:lnTo>
                <a:lnTo>
                  <a:pt x="5237538" y="711842"/>
                </a:lnTo>
                <a:close/>
                <a:moveTo>
                  <a:pt x="4398411" y="677094"/>
                </a:moveTo>
                <a:lnTo>
                  <a:pt x="4398411" y="746373"/>
                </a:lnTo>
                <a:lnTo>
                  <a:pt x="4372201" y="746373"/>
                </a:lnTo>
                <a:close/>
                <a:moveTo>
                  <a:pt x="5185606" y="642617"/>
                </a:moveTo>
                <a:lnTo>
                  <a:pt x="5185606" y="677094"/>
                </a:lnTo>
                <a:lnTo>
                  <a:pt x="5237538" y="677094"/>
                </a:lnTo>
                <a:lnTo>
                  <a:pt x="5237538" y="642617"/>
                </a:lnTo>
                <a:close/>
                <a:moveTo>
                  <a:pt x="4614461" y="642617"/>
                </a:moveTo>
                <a:lnTo>
                  <a:pt x="4614461" y="850075"/>
                </a:lnTo>
                <a:lnTo>
                  <a:pt x="4666339" y="850075"/>
                </a:lnTo>
                <a:lnTo>
                  <a:pt x="4666339" y="746373"/>
                </a:lnTo>
                <a:lnTo>
                  <a:pt x="4701141" y="746373"/>
                </a:lnTo>
                <a:lnTo>
                  <a:pt x="4701141" y="815598"/>
                </a:lnTo>
                <a:lnTo>
                  <a:pt x="4718487" y="850075"/>
                </a:lnTo>
                <a:lnTo>
                  <a:pt x="4839644" y="850075"/>
                </a:lnTo>
                <a:lnTo>
                  <a:pt x="4839644" y="746373"/>
                </a:lnTo>
                <a:lnTo>
                  <a:pt x="4865583" y="746373"/>
                </a:lnTo>
                <a:lnTo>
                  <a:pt x="4865583" y="850075"/>
                </a:lnTo>
                <a:lnTo>
                  <a:pt x="4917407" y="850075"/>
                </a:lnTo>
                <a:lnTo>
                  <a:pt x="4917407" y="746373"/>
                </a:lnTo>
                <a:lnTo>
                  <a:pt x="4943401" y="746373"/>
                </a:lnTo>
                <a:lnTo>
                  <a:pt x="4943401" y="850075"/>
                </a:lnTo>
                <a:lnTo>
                  <a:pt x="4995279" y="850075"/>
                </a:lnTo>
                <a:lnTo>
                  <a:pt x="4995279" y="746373"/>
                </a:lnTo>
                <a:lnTo>
                  <a:pt x="5021164" y="746373"/>
                </a:lnTo>
                <a:lnTo>
                  <a:pt x="5021164" y="815598"/>
                </a:lnTo>
                <a:lnTo>
                  <a:pt x="5038564" y="850075"/>
                </a:lnTo>
                <a:lnTo>
                  <a:pt x="5159667" y="850075"/>
                </a:lnTo>
                <a:lnTo>
                  <a:pt x="5159667" y="711842"/>
                </a:lnTo>
                <a:lnTo>
                  <a:pt x="5038564" y="711842"/>
                </a:lnTo>
                <a:lnTo>
                  <a:pt x="5021218" y="746266"/>
                </a:lnTo>
                <a:lnTo>
                  <a:pt x="5021218" y="711842"/>
                </a:lnTo>
                <a:lnTo>
                  <a:pt x="4995279" y="711842"/>
                </a:lnTo>
                <a:lnTo>
                  <a:pt x="4995279" y="677094"/>
                </a:lnTo>
                <a:lnTo>
                  <a:pt x="4943401" y="677094"/>
                </a:lnTo>
                <a:lnTo>
                  <a:pt x="4943401" y="711842"/>
                </a:lnTo>
                <a:lnTo>
                  <a:pt x="4917407" y="711842"/>
                </a:lnTo>
                <a:lnTo>
                  <a:pt x="4917407" y="677094"/>
                </a:lnTo>
                <a:lnTo>
                  <a:pt x="4865583" y="677094"/>
                </a:lnTo>
                <a:lnTo>
                  <a:pt x="4865583" y="711842"/>
                </a:lnTo>
                <a:lnTo>
                  <a:pt x="4787496" y="711842"/>
                </a:lnTo>
                <a:lnTo>
                  <a:pt x="4787496" y="815544"/>
                </a:lnTo>
                <a:lnTo>
                  <a:pt x="4753019" y="815544"/>
                </a:lnTo>
                <a:lnTo>
                  <a:pt x="4753019" y="711842"/>
                </a:lnTo>
                <a:lnTo>
                  <a:pt x="4666393" y="711842"/>
                </a:lnTo>
                <a:lnTo>
                  <a:pt x="4666393" y="677094"/>
                </a:lnTo>
                <a:lnTo>
                  <a:pt x="4753019" y="677094"/>
                </a:lnTo>
                <a:lnTo>
                  <a:pt x="4753019" y="642617"/>
                </a:lnTo>
                <a:lnTo>
                  <a:pt x="4614515" y="642617"/>
                </a:lnTo>
                <a:close/>
                <a:moveTo>
                  <a:pt x="4476174" y="642617"/>
                </a:moveTo>
                <a:lnTo>
                  <a:pt x="4476174" y="850075"/>
                </a:lnTo>
                <a:lnTo>
                  <a:pt x="4528052" y="850075"/>
                </a:lnTo>
                <a:lnTo>
                  <a:pt x="4528052" y="642617"/>
                </a:lnTo>
                <a:close/>
                <a:moveTo>
                  <a:pt x="4355071" y="642617"/>
                </a:moveTo>
                <a:lnTo>
                  <a:pt x="4285846" y="850075"/>
                </a:lnTo>
                <a:lnTo>
                  <a:pt x="4337724" y="850075"/>
                </a:lnTo>
                <a:lnTo>
                  <a:pt x="4363663" y="781067"/>
                </a:lnTo>
                <a:lnTo>
                  <a:pt x="4398411" y="781067"/>
                </a:lnTo>
                <a:lnTo>
                  <a:pt x="4398411" y="850075"/>
                </a:lnTo>
                <a:lnTo>
                  <a:pt x="4450289" y="850075"/>
                </a:lnTo>
                <a:lnTo>
                  <a:pt x="4450289" y="642617"/>
                </a:lnTo>
                <a:close/>
                <a:moveTo>
                  <a:pt x="3974470" y="642563"/>
                </a:moveTo>
                <a:lnTo>
                  <a:pt x="4026078" y="694225"/>
                </a:lnTo>
                <a:lnTo>
                  <a:pt x="3974470" y="745995"/>
                </a:lnTo>
                <a:lnTo>
                  <a:pt x="3922863" y="694225"/>
                </a:lnTo>
                <a:close/>
                <a:moveTo>
                  <a:pt x="3974470" y="538699"/>
                </a:moveTo>
                <a:lnTo>
                  <a:pt x="3766688" y="746049"/>
                </a:lnTo>
                <a:lnTo>
                  <a:pt x="3818674" y="797927"/>
                </a:lnTo>
                <a:lnTo>
                  <a:pt x="3870822" y="746211"/>
                </a:lnTo>
                <a:lnTo>
                  <a:pt x="3922592" y="798198"/>
                </a:lnTo>
                <a:lnTo>
                  <a:pt x="3870498" y="850292"/>
                </a:lnTo>
                <a:lnTo>
                  <a:pt x="3922592" y="901846"/>
                </a:lnTo>
                <a:lnTo>
                  <a:pt x="3973498" y="850130"/>
                </a:lnTo>
                <a:lnTo>
                  <a:pt x="4026511" y="901846"/>
                </a:lnTo>
                <a:lnTo>
                  <a:pt x="4078173" y="850130"/>
                </a:lnTo>
                <a:lnTo>
                  <a:pt x="4026511" y="798468"/>
                </a:lnTo>
                <a:lnTo>
                  <a:pt x="4078713" y="746211"/>
                </a:lnTo>
                <a:lnTo>
                  <a:pt x="4130321" y="797927"/>
                </a:lnTo>
                <a:lnTo>
                  <a:pt x="4182037" y="746211"/>
                </a:lnTo>
                <a:close/>
                <a:moveTo>
                  <a:pt x="0" y="0"/>
                </a:moveTo>
                <a:lnTo>
                  <a:pt x="6007100" y="0"/>
                </a:lnTo>
                <a:lnTo>
                  <a:pt x="60071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accent6"/>
          </a:solidFill>
        </p:spPr>
        <p:txBody>
          <a:bodyPr wrap="square">
            <a:noAutofit/>
          </a:bodyPr>
          <a:lstStyle/>
          <a:p>
            <a:r>
              <a:rPr lang="en-US"/>
              <a:t>Click to insert picture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A597281-ABB7-066F-7A10-EF9E1776C1D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39750" y="540001"/>
            <a:ext cx="5465999" cy="38779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Please insert a Headlin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BABAA35-1304-A3EC-A9C3-854E14C4664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Al-Futtaim Template 2025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2D61B8B-D6CA-BCE6-71B4-5C8A439C247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3109594-1B45-46DB-8A0B-416F125317D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7B82DAD-1AFC-2023-BB91-5E7F5BD2C6D0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8285AEC-C5F2-4122-90C7-405310EF48C7}" type="datetime1">
              <a:rPr lang="en-US" smtClean="0"/>
              <a:t>21/08/2025</a:t>
            </a:fld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8B4C8F2A-2924-AB97-B224-E2E3A1F3CEA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39751" y="927799"/>
            <a:ext cx="5465688" cy="388937"/>
          </a:xfrm>
        </p:spPr>
        <p:txBody>
          <a:bodyPr>
            <a:noAutofit/>
          </a:bodyPr>
          <a:lstStyle>
            <a:lvl1pPr>
              <a:defRPr sz="28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Please insert a </a:t>
            </a:r>
            <a:r>
              <a:rPr lang="en-US" dirty="0" err="1"/>
              <a:t>Subheadline</a:t>
            </a:r>
            <a:endParaRPr lang="en-US" dirty="0"/>
          </a:p>
        </p:txBody>
      </p:sp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6CFB16CB-922F-1EB5-FF04-BBE2E08EDD8E}"/>
              </a:ext>
            </a:extLst>
          </p:cNvPr>
          <p:cNvSpPr>
            <a:spLocks noGrp="1"/>
          </p:cNvSpPr>
          <p:nvPr userDrawn="1">
            <p:ph sz="quarter" idx="14" hasCustomPrompt="1"/>
          </p:nvPr>
        </p:nvSpPr>
        <p:spPr>
          <a:xfrm>
            <a:off x="540001" y="1618720"/>
            <a:ext cx="5465999" cy="4426480"/>
          </a:xfrm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Please insert content</a:t>
            </a:r>
          </a:p>
        </p:txBody>
      </p:sp>
    </p:spTree>
    <p:extLst>
      <p:ext uri="{BB962C8B-B14F-4D97-AF65-F5344CB8AC3E}">
        <p14:creationId xmlns:p14="http://schemas.microsoft.com/office/powerpoint/2010/main" val="3438177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83" userDrawn="1">
          <p15:clr>
            <a:srgbClr val="FBAE40"/>
          </p15:clr>
        </p15:guide>
        <p15:guide id="2" pos="3896" userDrawn="1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lit Content image_dark_3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12E37481-81B7-DAE5-9279-A2E3EA447BE6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184900" y="0"/>
            <a:ext cx="6007100" cy="6858000"/>
          </a:xfrm>
          <a:custGeom>
            <a:avLst/>
            <a:gdLst>
              <a:gd name="connsiteX0" fmla="*/ 5073042 w 6007100"/>
              <a:gd name="connsiteY0" fmla="*/ 746373 h 6858000"/>
              <a:gd name="connsiteX1" fmla="*/ 5107789 w 6007100"/>
              <a:gd name="connsiteY1" fmla="*/ 746373 h 6858000"/>
              <a:gd name="connsiteX2" fmla="*/ 5107789 w 6007100"/>
              <a:gd name="connsiteY2" fmla="*/ 815598 h 6858000"/>
              <a:gd name="connsiteX3" fmla="*/ 5073042 w 6007100"/>
              <a:gd name="connsiteY3" fmla="*/ 815598 h 6858000"/>
              <a:gd name="connsiteX4" fmla="*/ 5021218 w 6007100"/>
              <a:gd name="connsiteY4" fmla="*/ 746266 h 6858000"/>
              <a:gd name="connsiteX5" fmla="*/ 5021218 w 6007100"/>
              <a:gd name="connsiteY5" fmla="*/ 746373 h 6858000"/>
              <a:gd name="connsiteX6" fmla="*/ 5021164 w 6007100"/>
              <a:gd name="connsiteY6" fmla="*/ 746373 h 6858000"/>
              <a:gd name="connsiteX7" fmla="*/ 4545452 w 6007100"/>
              <a:gd name="connsiteY7" fmla="*/ 746103 h 6858000"/>
              <a:gd name="connsiteX8" fmla="*/ 4545452 w 6007100"/>
              <a:gd name="connsiteY8" fmla="*/ 780851 h 6858000"/>
              <a:gd name="connsiteX9" fmla="*/ 4597385 w 6007100"/>
              <a:gd name="connsiteY9" fmla="*/ 780851 h 6858000"/>
              <a:gd name="connsiteX10" fmla="*/ 4597385 w 6007100"/>
              <a:gd name="connsiteY10" fmla="*/ 746103 h 6858000"/>
              <a:gd name="connsiteX11" fmla="*/ 5263423 w 6007100"/>
              <a:gd name="connsiteY11" fmla="*/ 711842 h 6858000"/>
              <a:gd name="connsiteX12" fmla="*/ 5263423 w 6007100"/>
              <a:gd name="connsiteY12" fmla="*/ 850075 h 6858000"/>
              <a:gd name="connsiteX13" fmla="*/ 5315301 w 6007100"/>
              <a:gd name="connsiteY13" fmla="*/ 850075 h 6858000"/>
              <a:gd name="connsiteX14" fmla="*/ 5315301 w 6007100"/>
              <a:gd name="connsiteY14" fmla="*/ 746373 h 6858000"/>
              <a:gd name="connsiteX15" fmla="*/ 5341240 w 6007100"/>
              <a:gd name="connsiteY15" fmla="*/ 746373 h 6858000"/>
              <a:gd name="connsiteX16" fmla="*/ 5341240 w 6007100"/>
              <a:gd name="connsiteY16" fmla="*/ 850075 h 6858000"/>
              <a:gd name="connsiteX17" fmla="*/ 5393119 w 6007100"/>
              <a:gd name="connsiteY17" fmla="*/ 850075 h 6858000"/>
              <a:gd name="connsiteX18" fmla="*/ 5393119 w 6007100"/>
              <a:gd name="connsiteY18" fmla="*/ 746373 h 6858000"/>
              <a:gd name="connsiteX19" fmla="*/ 5419112 w 6007100"/>
              <a:gd name="connsiteY19" fmla="*/ 746373 h 6858000"/>
              <a:gd name="connsiteX20" fmla="*/ 5419112 w 6007100"/>
              <a:gd name="connsiteY20" fmla="*/ 850075 h 6858000"/>
              <a:gd name="connsiteX21" fmla="*/ 5470990 w 6007100"/>
              <a:gd name="connsiteY21" fmla="*/ 850075 h 6858000"/>
              <a:gd name="connsiteX22" fmla="*/ 5470990 w 6007100"/>
              <a:gd name="connsiteY22" fmla="*/ 746373 h 6858000"/>
              <a:gd name="connsiteX23" fmla="*/ 5453859 w 6007100"/>
              <a:gd name="connsiteY23" fmla="*/ 711842 h 6858000"/>
              <a:gd name="connsiteX24" fmla="*/ 5263477 w 6007100"/>
              <a:gd name="connsiteY24" fmla="*/ 711842 h 6858000"/>
              <a:gd name="connsiteX25" fmla="*/ 5185606 w 6007100"/>
              <a:gd name="connsiteY25" fmla="*/ 711626 h 6858000"/>
              <a:gd name="connsiteX26" fmla="*/ 5185606 w 6007100"/>
              <a:gd name="connsiteY26" fmla="*/ 850075 h 6858000"/>
              <a:gd name="connsiteX27" fmla="*/ 5237538 w 6007100"/>
              <a:gd name="connsiteY27" fmla="*/ 850075 h 6858000"/>
              <a:gd name="connsiteX28" fmla="*/ 5237538 w 6007100"/>
              <a:gd name="connsiteY28" fmla="*/ 711842 h 6858000"/>
              <a:gd name="connsiteX29" fmla="*/ 4398411 w 6007100"/>
              <a:gd name="connsiteY29" fmla="*/ 677094 h 6858000"/>
              <a:gd name="connsiteX30" fmla="*/ 4398411 w 6007100"/>
              <a:gd name="connsiteY30" fmla="*/ 746373 h 6858000"/>
              <a:gd name="connsiteX31" fmla="*/ 4372201 w 6007100"/>
              <a:gd name="connsiteY31" fmla="*/ 746373 h 6858000"/>
              <a:gd name="connsiteX32" fmla="*/ 5185606 w 6007100"/>
              <a:gd name="connsiteY32" fmla="*/ 642617 h 6858000"/>
              <a:gd name="connsiteX33" fmla="*/ 5185606 w 6007100"/>
              <a:gd name="connsiteY33" fmla="*/ 677094 h 6858000"/>
              <a:gd name="connsiteX34" fmla="*/ 5237538 w 6007100"/>
              <a:gd name="connsiteY34" fmla="*/ 677094 h 6858000"/>
              <a:gd name="connsiteX35" fmla="*/ 5237538 w 6007100"/>
              <a:gd name="connsiteY35" fmla="*/ 642617 h 6858000"/>
              <a:gd name="connsiteX36" fmla="*/ 4614461 w 6007100"/>
              <a:gd name="connsiteY36" fmla="*/ 642617 h 6858000"/>
              <a:gd name="connsiteX37" fmla="*/ 4614461 w 6007100"/>
              <a:gd name="connsiteY37" fmla="*/ 850075 h 6858000"/>
              <a:gd name="connsiteX38" fmla="*/ 4666339 w 6007100"/>
              <a:gd name="connsiteY38" fmla="*/ 850075 h 6858000"/>
              <a:gd name="connsiteX39" fmla="*/ 4666339 w 6007100"/>
              <a:gd name="connsiteY39" fmla="*/ 746373 h 6858000"/>
              <a:gd name="connsiteX40" fmla="*/ 4701141 w 6007100"/>
              <a:gd name="connsiteY40" fmla="*/ 746373 h 6858000"/>
              <a:gd name="connsiteX41" fmla="*/ 4701141 w 6007100"/>
              <a:gd name="connsiteY41" fmla="*/ 815598 h 6858000"/>
              <a:gd name="connsiteX42" fmla="*/ 4718487 w 6007100"/>
              <a:gd name="connsiteY42" fmla="*/ 850075 h 6858000"/>
              <a:gd name="connsiteX43" fmla="*/ 4839644 w 6007100"/>
              <a:gd name="connsiteY43" fmla="*/ 850075 h 6858000"/>
              <a:gd name="connsiteX44" fmla="*/ 4839644 w 6007100"/>
              <a:gd name="connsiteY44" fmla="*/ 746373 h 6858000"/>
              <a:gd name="connsiteX45" fmla="*/ 4865583 w 6007100"/>
              <a:gd name="connsiteY45" fmla="*/ 746373 h 6858000"/>
              <a:gd name="connsiteX46" fmla="*/ 4865583 w 6007100"/>
              <a:gd name="connsiteY46" fmla="*/ 850075 h 6858000"/>
              <a:gd name="connsiteX47" fmla="*/ 4917407 w 6007100"/>
              <a:gd name="connsiteY47" fmla="*/ 850075 h 6858000"/>
              <a:gd name="connsiteX48" fmla="*/ 4917407 w 6007100"/>
              <a:gd name="connsiteY48" fmla="*/ 746373 h 6858000"/>
              <a:gd name="connsiteX49" fmla="*/ 4943401 w 6007100"/>
              <a:gd name="connsiteY49" fmla="*/ 746373 h 6858000"/>
              <a:gd name="connsiteX50" fmla="*/ 4943401 w 6007100"/>
              <a:gd name="connsiteY50" fmla="*/ 850075 h 6858000"/>
              <a:gd name="connsiteX51" fmla="*/ 4995279 w 6007100"/>
              <a:gd name="connsiteY51" fmla="*/ 850075 h 6858000"/>
              <a:gd name="connsiteX52" fmla="*/ 4995279 w 6007100"/>
              <a:gd name="connsiteY52" fmla="*/ 746373 h 6858000"/>
              <a:gd name="connsiteX53" fmla="*/ 5021164 w 6007100"/>
              <a:gd name="connsiteY53" fmla="*/ 746373 h 6858000"/>
              <a:gd name="connsiteX54" fmla="*/ 5021164 w 6007100"/>
              <a:gd name="connsiteY54" fmla="*/ 815598 h 6858000"/>
              <a:gd name="connsiteX55" fmla="*/ 5038564 w 6007100"/>
              <a:gd name="connsiteY55" fmla="*/ 850075 h 6858000"/>
              <a:gd name="connsiteX56" fmla="*/ 5159667 w 6007100"/>
              <a:gd name="connsiteY56" fmla="*/ 850075 h 6858000"/>
              <a:gd name="connsiteX57" fmla="*/ 5159667 w 6007100"/>
              <a:gd name="connsiteY57" fmla="*/ 711842 h 6858000"/>
              <a:gd name="connsiteX58" fmla="*/ 5038564 w 6007100"/>
              <a:gd name="connsiteY58" fmla="*/ 711842 h 6858000"/>
              <a:gd name="connsiteX59" fmla="*/ 5021218 w 6007100"/>
              <a:gd name="connsiteY59" fmla="*/ 746266 h 6858000"/>
              <a:gd name="connsiteX60" fmla="*/ 5021218 w 6007100"/>
              <a:gd name="connsiteY60" fmla="*/ 711842 h 6858000"/>
              <a:gd name="connsiteX61" fmla="*/ 4995279 w 6007100"/>
              <a:gd name="connsiteY61" fmla="*/ 711842 h 6858000"/>
              <a:gd name="connsiteX62" fmla="*/ 4995279 w 6007100"/>
              <a:gd name="connsiteY62" fmla="*/ 677094 h 6858000"/>
              <a:gd name="connsiteX63" fmla="*/ 4943401 w 6007100"/>
              <a:gd name="connsiteY63" fmla="*/ 677094 h 6858000"/>
              <a:gd name="connsiteX64" fmla="*/ 4943401 w 6007100"/>
              <a:gd name="connsiteY64" fmla="*/ 711842 h 6858000"/>
              <a:gd name="connsiteX65" fmla="*/ 4917407 w 6007100"/>
              <a:gd name="connsiteY65" fmla="*/ 711842 h 6858000"/>
              <a:gd name="connsiteX66" fmla="*/ 4917407 w 6007100"/>
              <a:gd name="connsiteY66" fmla="*/ 677094 h 6858000"/>
              <a:gd name="connsiteX67" fmla="*/ 4865583 w 6007100"/>
              <a:gd name="connsiteY67" fmla="*/ 677094 h 6858000"/>
              <a:gd name="connsiteX68" fmla="*/ 4865583 w 6007100"/>
              <a:gd name="connsiteY68" fmla="*/ 711842 h 6858000"/>
              <a:gd name="connsiteX69" fmla="*/ 4787496 w 6007100"/>
              <a:gd name="connsiteY69" fmla="*/ 711842 h 6858000"/>
              <a:gd name="connsiteX70" fmla="*/ 4787496 w 6007100"/>
              <a:gd name="connsiteY70" fmla="*/ 815544 h 6858000"/>
              <a:gd name="connsiteX71" fmla="*/ 4753019 w 6007100"/>
              <a:gd name="connsiteY71" fmla="*/ 815544 h 6858000"/>
              <a:gd name="connsiteX72" fmla="*/ 4753019 w 6007100"/>
              <a:gd name="connsiteY72" fmla="*/ 711842 h 6858000"/>
              <a:gd name="connsiteX73" fmla="*/ 4666393 w 6007100"/>
              <a:gd name="connsiteY73" fmla="*/ 711842 h 6858000"/>
              <a:gd name="connsiteX74" fmla="*/ 4666393 w 6007100"/>
              <a:gd name="connsiteY74" fmla="*/ 677094 h 6858000"/>
              <a:gd name="connsiteX75" fmla="*/ 4753019 w 6007100"/>
              <a:gd name="connsiteY75" fmla="*/ 677094 h 6858000"/>
              <a:gd name="connsiteX76" fmla="*/ 4753019 w 6007100"/>
              <a:gd name="connsiteY76" fmla="*/ 642617 h 6858000"/>
              <a:gd name="connsiteX77" fmla="*/ 4614515 w 6007100"/>
              <a:gd name="connsiteY77" fmla="*/ 642617 h 6858000"/>
              <a:gd name="connsiteX78" fmla="*/ 4476174 w 6007100"/>
              <a:gd name="connsiteY78" fmla="*/ 642617 h 6858000"/>
              <a:gd name="connsiteX79" fmla="*/ 4476174 w 6007100"/>
              <a:gd name="connsiteY79" fmla="*/ 850075 h 6858000"/>
              <a:gd name="connsiteX80" fmla="*/ 4528052 w 6007100"/>
              <a:gd name="connsiteY80" fmla="*/ 850075 h 6858000"/>
              <a:gd name="connsiteX81" fmla="*/ 4528052 w 6007100"/>
              <a:gd name="connsiteY81" fmla="*/ 642617 h 6858000"/>
              <a:gd name="connsiteX82" fmla="*/ 4355071 w 6007100"/>
              <a:gd name="connsiteY82" fmla="*/ 642617 h 6858000"/>
              <a:gd name="connsiteX83" fmla="*/ 4285846 w 6007100"/>
              <a:gd name="connsiteY83" fmla="*/ 850075 h 6858000"/>
              <a:gd name="connsiteX84" fmla="*/ 4337724 w 6007100"/>
              <a:gd name="connsiteY84" fmla="*/ 850075 h 6858000"/>
              <a:gd name="connsiteX85" fmla="*/ 4363663 w 6007100"/>
              <a:gd name="connsiteY85" fmla="*/ 781067 h 6858000"/>
              <a:gd name="connsiteX86" fmla="*/ 4398411 w 6007100"/>
              <a:gd name="connsiteY86" fmla="*/ 781067 h 6858000"/>
              <a:gd name="connsiteX87" fmla="*/ 4398411 w 6007100"/>
              <a:gd name="connsiteY87" fmla="*/ 850075 h 6858000"/>
              <a:gd name="connsiteX88" fmla="*/ 4450289 w 6007100"/>
              <a:gd name="connsiteY88" fmla="*/ 850075 h 6858000"/>
              <a:gd name="connsiteX89" fmla="*/ 4450289 w 6007100"/>
              <a:gd name="connsiteY89" fmla="*/ 642617 h 6858000"/>
              <a:gd name="connsiteX90" fmla="*/ 3974470 w 6007100"/>
              <a:gd name="connsiteY90" fmla="*/ 642563 h 6858000"/>
              <a:gd name="connsiteX91" fmla="*/ 4026078 w 6007100"/>
              <a:gd name="connsiteY91" fmla="*/ 694225 h 6858000"/>
              <a:gd name="connsiteX92" fmla="*/ 3974470 w 6007100"/>
              <a:gd name="connsiteY92" fmla="*/ 745995 h 6858000"/>
              <a:gd name="connsiteX93" fmla="*/ 3922863 w 6007100"/>
              <a:gd name="connsiteY93" fmla="*/ 694225 h 6858000"/>
              <a:gd name="connsiteX94" fmla="*/ 3974470 w 6007100"/>
              <a:gd name="connsiteY94" fmla="*/ 538699 h 6858000"/>
              <a:gd name="connsiteX95" fmla="*/ 3766688 w 6007100"/>
              <a:gd name="connsiteY95" fmla="*/ 746049 h 6858000"/>
              <a:gd name="connsiteX96" fmla="*/ 3818674 w 6007100"/>
              <a:gd name="connsiteY96" fmla="*/ 797927 h 6858000"/>
              <a:gd name="connsiteX97" fmla="*/ 3870822 w 6007100"/>
              <a:gd name="connsiteY97" fmla="*/ 746211 h 6858000"/>
              <a:gd name="connsiteX98" fmla="*/ 3922592 w 6007100"/>
              <a:gd name="connsiteY98" fmla="*/ 798198 h 6858000"/>
              <a:gd name="connsiteX99" fmla="*/ 3870498 w 6007100"/>
              <a:gd name="connsiteY99" fmla="*/ 850292 h 6858000"/>
              <a:gd name="connsiteX100" fmla="*/ 3922592 w 6007100"/>
              <a:gd name="connsiteY100" fmla="*/ 901846 h 6858000"/>
              <a:gd name="connsiteX101" fmla="*/ 3973498 w 6007100"/>
              <a:gd name="connsiteY101" fmla="*/ 850130 h 6858000"/>
              <a:gd name="connsiteX102" fmla="*/ 4026511 w 6007100"/>
              <a:gd name="connsiteY102" fmla="*/ 901846 h 6858000"/>
              <a:gd name="connsiteX103" fmla="*/ 4078173 w 6007100"/>
              <a:gd name="connsiteY103" fmla="*/ 850130 h 6858000"/>
              <a:gd name="connsiteX104" fmla="*/ 4026511 w 6007100"/>
              <a:gd name="connsiteY104" fmla="*/ 798468 h 6858000"/>
              <a:gd name="connsiteX105" fmla="*/ 4078713 w 6007100"/>
              <a:gd name="connsiteY105" fmla="*/ 746211 h 6858000"/>
              <a:gd name="connsiteX106" fmla="*/ 4130321 w 6007100"/>
              <a:gd name="connsiteY106" fmla="*/ 797927 h 6858000"/>
              <a:gd name="connsiteX107" fmla="*/ 4182037 w 6007100"/>
              <a:gd name="connsiteY107" fmla="*/ 746211 h 6858000"/>
              <a:gd name="connsiteX108" fmla="*/ 0 w 6007100"/>
              <a:gd name="connsiteY108" fmla="*/ 0 h 6858000"/>
              <a:gd name="connsiteX109" fmla="*/ 6007100 w 6007100"/>
              <a:gd name="connsiteY109" fmla="*/ 0 h 6858000"/>
              <a:gd name="connsiteX110" fmla="*/ 6007100 w 6007100"/>
              <a:gd name="connsiteY110" fmla="*/ 6858000 h 6858000"/>
              <a:gd name="connsiteX111" fmla="*/ 0 w 6007100"/>
              <a:gd name="connsiteY111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</a:cxnLst>
            <a:rect l="l" t="t" r="r" b="b"/>
            <a:pathLst>
              <a:path w="6007100" h="6858000">
                <a:moveTo>
                  <a:pt x="5073042" y="746373"/>
                </a:moveTo>
                <a:lnTo>
                  <a:pt x="5107789" y="746373"/>
                </a:lnTo>
                <a:lnTo>
                  <a:pt x="5107789" y="815598"/>
                </a:lnTo>
                <a:lnTo>
                  <a:pt x="5073042" y="815598"/>
                </a:lnTo>
                <a:close/>
                <a:moveTo>
                  <a:pt x="5021218" y="746266"/>
                </a:moveTo>
                <a:lnTo>
                  <a:pt x="5021218" y="746373"/>
                </a:lnTo>
                <a:lnTo>
                  <a:pt x="5021164" y="746373"/>
                </a:lnTo>
                <a:close/>
                <a:moveTo>
                  <a:pt x="4545452" y="746103"/>
                </a:moveTo>
                <a:lnTo>
                  <a:pt x="4545452" y="780851"/>
                </a:lnTo>
                <a:lnTo>
                  <a:pt x="4597385" y="780851"/>
                </a:lnTo>
                <a:lnTo>
                  <a:pt x="4597385" y="746103"/>
                </a:lnTo>
                <a:close/>
                <a:moveTo>
                  <a:pt x="5263423" y="711842"/>
                </a:moveTo>
                <a:lnTo>
                  <a:pt x="5263423" y="850075"/>
                </a:lnTo>
                <a:lnTo>
                  <a:pt x="5315301" y="850075"/>
                </a:lnTo>
                <a:lnTo>
                  <a:pt x="5315301" y="746373"/>
                </a:lnTo>
                <a:lnTo>
                  <a:pt x="5341240" y="746373"/>
                </a:lnTo>
                <a:lnTo>
                  <a:pt x="5341240" y="850075"/>
                </a:lnTo>
                <a:lnTo>
                  <a:pt x="5393119" y="850075"/>
                </a:lnTo>
                <a:lnTo>
                  <a:pt x="5393119" y="746373"/>
                </a:lnTo>
                <a:lnTo>
                  <a:pt x="5419112" y="746373"/>
                </a:lnTo>
                <a:lnTo>
                  <a:pt x="5419112" y="850075"/>
                </a:lnTo>
                <a:lnTo>
                  <a:pt x="5470990" y="850075"/>
                </a:lnTo>
                <a:lnTo>
                  <a:pt x="5470990" y="746373"/>
                </a:lnTo>
                <a:lnTo>
                  <a:pt x="5453859" y="711842"/>
                </a:lnTo>
                <a:lnTo>
                  <a:pt x="5263477" y="711842"/>
                </a:lnTo>
                <a:close/>
                <a:moveTo>
                  <a:pt x="5185606" y="711626"/>
                </a:moveTo>
                <a:lnTo>
                  <a:pt x="5185606" y="850075"/>
                </a:lnTo>
                <a:lnTo>
                  <a:pt x="5237538" y="850075"/>
                </a:lnTo>
                <a:lnTo>
                  <a:pt x="5237538" y="711842"/>
                </a:lnTo>
                <a:close/>
                <a:moveTo>
                  <a:pt x="4398411" y="677094"/>
                </a:moveTo>
                <a:lnTo>
                  <a:pt x="4398411" y="746373"/>
                </a:lnTo>
                <a:lnTo>
                  <a:pt x="4372201" y="746373"/>
                </a:lnTo>
                <a:close/>
                <a:moveTo>
                  <a:pt x="5185606" y="642617"/>
                </a:moveTo>
                <a:lnTo>
                  <a:pt x="5185606" y="677094"/>
                </a:lnTo>
                <a:lnTo>
                  <a:pt x="5237538" y="677094"/>
                </a:lnTo>
                <a:lnTo>
                  <a:pt x="5237538" y="642617"/>
                </a:lnTo>
                <a:close/>
                <a:moveTo>
                  <a:pt x="4614461" y="642617"/>
                </a:moveTo>
                <a:lnTo>
                  <a:pt x="4614461" y="850075"/>
                </a:lnTo>
                <a:lnTo>
                  <a:pt x="4666339" y="850075"/>
                </a:lnTo>
                <a:lnTo>
                  <a:pt x="4666339" y="746373"/>
                </a:lnTo>
                <a:lnTo>
                  <a:pt x="4701141" y="746373"/>
                </a:lnTo>
                <a:lnTo>
                  <a:pt x="4701141" y="815598"/>
                </a:lnTo>
                <a:lnTo>
                  <a:pt x="4718487" y="850075"/>
                </a:lnTo>
                <a:lnTo>
                  <a:pt x="4839644" y="850075"/>
                </a:lnTo>
                <a:lnTo>
                  <a:pt x="4839644" y="746373"/>
                </a:lnTo>
                <a:lnTo>
                  <a:pt x="4865583" y="746373"/>
                </a:lnTo>
                <a:lnTo>
                  <a:pt x="4865583" y="850075"/>
                </a:lnTo>
                <a:lnTo>
                  <a:pt x="4917407" y="850075"/>
                </a:lnTo>
                <a:lnTo>
                  <a:pt x="4917407" y="746373"/>
                </a:lnTo>
                <a:lnTo>
                  <a:pt x="4943401" y="746373"/>
                </a:lnTo>
                <a:lnTo>
                  <a:pt x="4943401" y="850075"/>
                </a:lnTo>
                <a:lnTo>
                  <a:pt x="4995279" y="850075"/>
                </a:lnTo>
                <a:lnTo>
                  <a:pt x="4995279" y="746373"/>
                </a:lnTo>
                <a:lnTo>
                  <a:pt x="5021164" y="746373"/>
                </a:lnTo>
                <a:lnTo>
                  <a:pt x="5021164" y="815598"/>
                </a:lnTo>
                <a:lnTo>
                  <a:pt x="5038564" y="850075"/>
                </a:lnTo>
                <a:lnTo>
                  <a:pt x="5159667" y="850075"/>
                </a:lnTo>
                <a:lnTo>
                  <a:pt x="5159667" y="711842"/>
                </a:lnTo>
                <a:lnTo>
                  <a:pt x="5038564" y="711842"/>
                </a:lnTo>
                <a:lnTo>
                  <a:pt x="5021218" y="746266"/>
                </a:lnTo>
                <a:lnTo>
                  <a:pt x="5021218" y="711842"/>
                </a:lnTo>
                <a:lnTo>
                  <a:pt x="4995279" y="711842"/>
                </a:lnTo>
                <a:lnTo>
                  <a:pt x="4995279" y="677094"/>
                </a:lnTo>
                <a:lnTo>
                  <a:pt x="4943401" y="677094"/>
                </a:lnTo>
                <a:lnTo>
                  <a:pt x="4943401" y="711842"/>
                </a:lnTo>
                <a:lnTo>
                  <a:pt x="4917407" y="711842"/>
                </a:lnTo>
                <a:lnTo>
                  <a:pt x="4917407" y="677094"/>
                </a:lnTo>
                <a:lnTo>
                  <a:pt x="4865583" y="677094"/>
                </a:lnTo>
                <a:lnTo>
                  <a:pt x="4865583" y="711842"/>
                </a:lnTo>
                <a:lnTo>
                  <a:pt x="4787496" y="711842"/>
                </a:lnTo>
                <a:lnTo>
                  <a:pt x="4787496" y="815544"/>
                </a:lnTo>
                <a:lnTo>
                  <a:pt x="4753019" y="815544"/>
                </a:lnTo>
                <a:lnTo>
                  <a:pt x="4753019" y="711842"/>
                </a:lnTo>
                <a:lnTo>
                  <a:pt x="4666393" y="711842"/>
                </a:lnTo>
                <a:lnTo>
                  <a:pt x="4666393" y="677094"/>
                </a:lnTo>
                <a:lnTo>
                  <a:pt x="4753019" y="677094"/>
                </a:lnTo>
                <a:lnTo>
                  <a:pt x="4753019" y="642617"/>
                </a:lnTo>
                <a:lnTo>
                  <a:pt x="4614515" y="642617"/>
                </a:lnTo>
                <a:close/>
                <a:moveTo>
                  <a:pt x="4476174" y="642617"/>
                </a:moveTo>
                <a:lnTo>
                  <a:pt x="4476174" y="850075"/>
                </a:lnTo>
                <a:lnTo>
                  <a:pt x="4528052" y="850075"/>
                </a:lnTo>
                <a:lnTo>
                  <a:pt x="4528052" y="642617"/>
                </a:lnTo>
                <a:close/>
                <a:moveTo>
                  <a:pt x="4355071" y="642617"/>
                </a:moveTo>
                <a:lnTo>
                  <a:pt x="4285846" y="850075"/>
                </a:lnTo>
                <a:lnTo>
                  <a:pt x="4337724" y="850075"/>
                </a:lnTo>
                <a:lnTo>
                  <a:pt x="4363663" y="781067"/>
                </a:lnTo>
                <a:lnTo>
                  <a:pt x="4398411" y="781067"/>
                </a:lnTo>
                <a:lnTo>
                  <a:pt x="4398411" y="850075"/>
                </a:lnTo>
                <a:lnTo>
                  <a:pt x="4450289" y="850075"/>
                </a:lnTo>
                <a:lnTo>
                  <a:pt x="4450289" y="642617"/>
                </a:lnTo>
                <a:close/>
                <a:moveTo>
                  <a:pt x="3974470" y="642563"/>
                </a:moveTo>
                <a:lnTo>
                  <a:pt x="4026078" y="694225"/>
                </a:lnTo>
                <a:lnTo>
                  <a:pt x="3974470" y="745995"/>
                </a:lnTo>
                <a:lnTo>
                  <a:pt x="3922863" y="694225"/>
                </a:lnTo>
                <a:close/>
                <a:moveTo>
                  <a:pt x="3974470" y="538699"/>
                </a:moveTo>
                <a:lnTo>
                  <a:pt x="3766688" y="746049"/>
                </a:lnTo>
                <a:lnTo>
                  <a:pt x="3818674" y="797927"/>
                </a:lnTo>
                <a:lnTo>
                  <a:pt x="3870822" y="746211"/>
                </a:lnTo>
                <a:lnTo>
                  <a:pt x="3922592" y="798198"/>
                </a:lnTo>
                <a:lnTo>
                  <a:pt x="3870498" y="850292"/>
                </a:lnTo>
                <a:lnTo>
                  <a:pt x="3922592" y="901846"/>
                </a:lnTo>
                <a:lnTo>
                  <a:pt x="3973498" y="850130"/>
                </a:lnTo>
                <a:lnTo>
                  <a:pt x="4026511" y="901846"/>
                </a:lnTo>
                <a:lnTo>
                  <a:pt x="4078173" y="850130"/>
                </a:lnTo>
                <a:lnTo>
                  <a:pt x="4026511" y="798468"/>
                </a:lnTo>
                <a:lnTo>
                  <a:pt x="4078713" y="746211"/>
                </a:lnTo>
                <a:lnTo>
                  <a:pt x="4130321" y="797927"/>
                </a:lnTo>
                <a:lnTo>
                  <a:pt x="4182037" y="746211"/>
                </a:lnTo>
                <a:close/>
                <a:moveTo>
                  <a:pt x="0" y="0"/>
                </a:moveTo>
                <a:lnTo>
                  <a:pt x="6007100" y="0"/>
                </a:lnTo>
                <a:lnTo>
                  <a:pt x="60071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accent6"/>
          </a:solidFill>
        </p:spPr>
        <p:txBody>
          <a:bodyPr wrap="square">
            <a:noAutofit/>
          </a:bodyPr>
          <a:lstStyle/>
          <a:p>
            <a:r>
              <a:rPr lang="en-US"/>
              <a:t>Click to insert picture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A597281-ABB7-066F-7A10-EF9E1776C1D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39750" y="540001"/>
            <a:ext cx="5465999" cy="38779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Please insert a Headlin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BABAA35-1304-A3EC-A9C3-854E14C4664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Al-Futtaim Template 2025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2D61B8B-D6CA-BCE6-71B4-5C8A439C247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83109594-1B45-46DB-8A0B-416F125317D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7B82DAD-1AFC-2023-BB91-5E7F5BD2C6D0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D6D53D1B-C6DE-4DD3-B9A9-D88B2DD31490}" type="datetime1">
              <a:rPr lang="en-US" smtClean="0"/>
              <a:t>21/08/2025</a:t>
            </a:fld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8B4C8F2A-2924-AB97-B224-E2E3A1F3CEA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39751" y="927799"/>
            <a:ext cx="5465688" cy="388937"/>
          </a:xfrm>
        </p:spPr>
        <p:txBody>
          <a:bodyPr>
            <a:noAutofit/>
          </a:bodyPr>
          <a:lstStyle>
            <a:lvl1pPr>
              <a:defRPr sz="28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Please insert a </a:t>
            </a:r>
            <a:r>
              <a:rPr lang="en-US" dirty="0" err="1"/>
              <a:t>Subheadline</a:t>
            </a:r>
            <a:endParaRPr lang="en-US" dirty="0"/>
          </a:p>
        </p:txBody>
      </p:sp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6CFB16CB-922F-1EB5-FF04-BBE2E08EDD8E}"/>
              </a:ext>
            </a:extLst>
          </p:cNvPr>
          <p:cNvSpPr>
            <a:spLocks noGrp="1"/>
          </p:cNvSpPr>
          <p:nvPr userDrawn="1">
            <p:ph sz="quarter" idx="14" hasCustomPrompt="1"/>
          </p:nvPr>
        </p:nvSpPr>
        <p:spPr>
          <a:xfrm>
            <a:off x="540001" y="1618720"/>
            <a:ext cx="5465999" cy="4426480"/>
          </a:xfrm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Please insert content</a:t>
            </a:r>
          </a:p>
        </p:txBody>
      </p:sp>
    </p:spTree>
    <p:extLst>
      <p:ext uri="{BB962C8B-B14F-4D97-AF65-F5344CB8AC3E}">
        <p14:creationId xmlns:p14="http://schemas.microsoft.com/office/powerpoint/2010/main" val="39381152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83" userDrawn="1">
          <p15:clr>
            <a:srgbClr val="FBAE40"/>
          </p15:clr>
        </p15:guide>
        <p15:guide id="2" pos="3896" userDrawn="1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plit Content image_light_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" name="Group 14">
            <a:extLst>
              <a:ext uri="{FF2B5EF4-FFF2-40B4-BE49-F238E27FC236}">
                <a16:creationId xmlns:a16="http://schemas.microsoft.com/office/drawing/2014/main" id="{82E22475-5AA0-F2C0-0102-83ECDF348C1B}"/>
              </a:ext>
            </a:extLst>
          </p:cNvPr>
          <p:cNvGrpSpPr/>
          <p:nvPr userDrawn="1"/>
        </p:nvGrpSpPr>
        <p:grpSpPr>
          <a:xfrm>
            <a:off x="9951588" y="538699"/>
            <a:ext cx="1704301" cy="363146"/>
            <a:chOff x="9951588" y="538699"/>
            <a:chExt cx="1704301" cy="363146"/>
          </a:xfrm>
          <a:solidFill>
            <a:schemeClr val="bg1"/>
          </a:solidFill>
        </p:grpSpPr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98DF0A99-91B5-7C8B-95D4-7A1C654B58C5}"/>
                </a:ext>
              </a:extLst>
            </p:cNvPr>
            <p:cNvSpPr/>
            <p:nvPr/>
          </p:nvSpPr>
          <p:spPr>
            <a:xfrm>
              <a:off x="10470746" y="642617"/>
              <a:ext cx="1185143" cy="207458"/>
            </a:xfrm>
            <a:custGeom>
              <a:avLst/>
              <a:gdLst>
                <a:gd name="connsiteX0" fmla="*/ 259606 w 1185143"/>
                <a:gd name="connsiteY0" fmla="*/ 138234 h 207458"/>
                <a:gd name="connsiteX1" fmla="*/ 311539 w 1185143"/>
                <a:gd name="connsiteY1" fmla="*/ 138234 h 207458"/>
                <a:gd name="connsiteX2" fmla="*/ 311539 w 1185143"/>
                <a:gd name="connsiteY2" fmla="*/ 103486 h 207458"/>
                <a:gd name="connsiteX3" fmla="*/ 259606 w 1185143"/>
                <a:gd name="connsiteY3" fmla="*/ 103486 h 207458"/>
                <a:gd name="connsiteX4" fmla="*/ 259606 w 1185143"/>
                <a:gd name="connsiteY4" fmla="*/ 138234 h 207458"/>
                <a:gd name="connsiteX5" fmla="*/ 787196 w 1185143"/>
                <a:gd name="connsiteY5" fmla="*/ 103756 h 207458"/>
                <a:gd name="connsiteX6" fmla="*/ 821943 w 1185143"/>
                <a:gd name="connsiteY6" fmla="*/ 103756 h 207458"/>
                <a:gd name="connsiteX7" fmla="*/ 821943 w 1185143"/>
                <a:gd name="connsiteY7" fmla="*/ 172981 h 207458"/>
                <a:gd name="connsiteX8" fmla="*/ 787196 w 1185143"/>
                <a:gd name="connsiteY8" fmla="*/ 172981 h 207458"/>
                <a:gd name="connsiteX9" fmla="*/ 787196 w 1185143"/>
                <a:gd name="connsiteY9" fmla="*/ 103756 h 207458"/>
                <a:gd name="connsiteX10" fmla="*/ 752718 w 1185143"/>
                <a:gd name="connsiteY10" fmla="*/ 69225 h 207458"/>
                <a:gd name="connsiteX11" fmla="*/ 735318 w 1185143"/>
                <a:gd name="connsiteY11" fmla="*/ 103756 h 207458"/>
                <a:gd name="connsiteX12" fmla="*/ 735318 w 1185143"/>
                <a:gd name="connsiteY12" fmla="*/ 172981 h 207458"/>
                <a:gd name="connsiteX13" fmla="*/ 752718 w 1185143"/>
                <a:gd name="connsiteY13" fmla="*/ 207458 h 207458"/>
                <a:gd name="connsiteX14" fmla="*/ 873821 w 1185143"/>
                <a:gd name="connsiteY14" fmla="*/ 207458 h 207458"/>
                <a:gd name="connsiteX15" fmla="*/ 873821 w 1185143"/>
                <a:gd name="connsiteY15" fmla="*/ 69225 h 207458"/>
                <a:gd name="connsiteX16" fmla="*/ 752718 w 1185143"/>
                <a:gd name="connsiteY16" fmla="*/ 69225 h 207458"/>
                <a:gd name="connsiteX17" fmla="*/ 977577 w 1185143"/>
                <a:gd name="connsiteY17" fmla="*/ 69225 h 207458"/>
                <a:gd name="connsiteX18" fmla="*/ 977577 w 1185143"/>
                <a:gd name="connsiteY18" fmla="*/ 207458 h 207458"/>
                <a:gd name="connsiteX19" fmla="*/ 1029455 w 1185143"/>
                <a:gd name="connsiteY19" fmla="*/ 207458 h 207458"/>
                <a:gd name="connsiteX20" fmla="*/ 1029455 w 1185143"/>
                <a:gd name="connsiteY20" fmla="*/ 103756 h 207458"/>
                <a:gd name="connsiteX21" fmla="*/ 1055394 w 1185143"/>
                <a:gd name="connsiteY21" fmla="*/ 103756 h 207458"/>
                <a:gd name="connsiteX22" fmla="*/ 1055394 w 1185143"/>
                <a:gd name="connsiteY22" fmla="*/ 207458 h 207458"/>
                <a:gd name="connsiteX23" fmla="*/ 1107273 w 1185143"/>
                <a:gd name="connsiteY23" fmla="*/ 207458 h 207458"/>
                <a:gd name="connsiteX24" fmla="*/ 1107273 w 1185143"/>
                <a:gd name="connsiteY24" fmla="*/ 103756 h 207458"/>
                <a:gd name="connsiteX25" fmla="*/ 1133266 w 1185143"/>
                <a:gd name="connsiteY25" fmla="*/ 103756 h 207458"/>
                <a:gd name="connsiteX26" fmla="*/ 1133266 w 1185143"/>
                <a:gd name="connsiteY26" fmla="*/ 207458 h 207458"/>
                <a:gd name="connsiteX27" fmla="*/ 1185144 w 1185143"/>
                <a:gd name="connsiteY27" fmla="*/ 207458 h 207458"/>
                <a:gd name="connsiteX28" fmla="*/ 1185144 w 1185143"/>
                <a:gd name="connsiteY28" fmla="*/ 103756 h 207458"/>
                <a:gd name="connsiteX29" fmla="*/ 1168013 w 1185143"/>
                <a:gd name="connsiteY29" fmla="*/ 69225 h 207458"/>
                <a:gd name="connsiteX30" fmla="*/ 977631 w 1185143"/>
                <a:gd name="connsiteY30" fmla="*/ 69225 h 207458"/>
                <a:gd name="connsiteX31" fmla="*/ 899760 w 1185143"/>
                <a:gd name="connsiteY31" fmla="*/ 207458 h 207458"/>
                <a:gd name="connsiteX32" fmla="*/ 951692 w 1185143"/>
                <a:gd name="connsiteY32" fmla="*/ 207458 h 207458"/>
                <a:gd name="connsiteX33" fmla="*/ 951692 w 1185143"/>
                <a:gd name="connsiteY33" fmla="*/ 69225 h 207458"/>
                <a:gd name="connsiteX34" fmla="*/ 899760 w 1185143"/>
                <a:gd name="connsiteY34" fmla="*/ 69009 h 207458"/>
                <a:gd name="connsiteX35" fmla="*/ 899760 w 1185143"/>
                <a:gd name="connsiteY35" fmla="*/ 207458 h 207458"/>
                <a:gd name="connsiteX36" fmla="*/ 112565 w 1185143"/>
                <a:gd name="connsiteY36" fmla="*/ 34477 h 207458"/>
                <a:gd name="connsiteX37" fmla="*/ 112565 w 1185143"/>
                <a:gd name="connsiteY37" fmla="*/ 103756 h 207458"/>
                <a:gd name="connsiteX38" fmla="*/ 86355 w 1185143"/>
                <a:gd name="connsiteY38" fmla="*/ 103756 h 207458"/>
                <a:gd name="connsiteX39" fmla="*/ 112565 w 1185143"/>
                <a:gd name="connsiteY39" fmla="*/ 34477 h 207458"/>
                <a:gd name="connsiteX40" fmla="*/ 69225 w 1185143"/>
                <a:gd name="connsiteY40" fmla="*/ 0 h 207458"/>
                <a:gd name="connsiteX41" fmla="*/ 0 w 1185143"/>
                <a:gd name="connsiteY41" fmla="*/ 207458 h 207458"/>
                <a:gd name="connsiteX42" fmla="*/ 51878 w 1185143"/>
                <a:gd name="connsiteY42" fmla="*/ 207458 h 207458"/>
                <a:gd name="connsiteX43" fmla="*/ 77817 w 1185143"/>
                <a:gd name="connsiteY43" fmla="*/ 138450 h 207458"/>
                <a:gd name="connsiteX44" fmla="*/ 112565 w 1185143"/>
                <a:gd name="connsiteY44" fmla="*/ 138450 h 207458"/>
                <a:gd name="connsiteX45" fmla="*/ 112565 w 1185143"/>
                <a:gd name="connsiteY45" fmla="*/ 207458 h 207458"/>
                <a:gd name="connsiteX46" fmla="*/ 164443 w 1185143"/>
                <a:gd name="connsiteY46" fmla="*/ 207458 h 207458"/>
                <a:gd name="connsiteX47" fmla="*/ 164443 w 1185143"/>
                <a:gd name="connsiteY47" fmla="*/ 0 h 207458"/>
                <a:gd name="connsiteX48" fmla="*/ 69225 w 1185143"/>
                <a:gd name="connsiteY48" fmla="*/ 0 h 207458"/>
                <a:gd name="connsiteX49" fmla="*/ 190328 w 1185143"/>
                <a:gd name="connsiteY49" fmla="*/ 207458 h 207458"/>
                <a:gd name="connsiteX50" fmla="*/ 242206 w 1185143"/>
                <a:gd name="connsiteY50" fmla="*/ 207458 h 207458"/>
                <a:gd name="connsiteX51" fmla="*/ 242206 w 1185143"/>
                <a:gd name="connsiteY51" fmla="*/ 0 h 207458"/>
                <a:gd name="connsiteX52" fmla="*/ 190328 w 1185143"/>
                <a:gd name="connsiteY52" fmla="*/ 0 h 207458"/>
                <a:gd name="connsiteX53" fmla="*/ 190328 w 1185143"/>
                <a:gd name="connsiteY53" fmla="*/ 207458 h 207458"/>
                <a:gd name="connsiteX54" fmla="*/ 328615 w 1185143"/>
                <a:gd name="connsiteY54" fmla="*/ 0 h 207458"/>
                <a:gd name="connsiteX55" fmla="*/ 328615 w 1185143"/>
                <a:gd name="connsiteY55" fmla="*/ 207458 h 207458"/>
                <a:gd name="connsiteX56" fmla="*/ 380493 w 1185143"/>
                <a:gd name="connsiteY56" fmla="*/ 207458 h 207458"/>
                <a:gd name="connsiteX57" fmla="*/ 380493 w 1185143"/>
                <a:gd name="connsiteY57" fmla="*/ 103756 h 207458"/>
                <a:gd name="connsiteX58" fmla="*/ 415295 w 1185143"/>
                <a:gd name="connsiteY58" fmla="*/ 103756 h 207458"/>
                <a:gd name="connsiteX59" fmla="*/ 415295 w 1185143"/>
                <a:gd name="connsiteY59" fmla="*/ 172981 h 207458"/>
                <a:gd name="connsiteX60" fmla="*/ 432641 w 1185143"/>
                <a:gd name="connsiteY60" fmla="*/ 207458 h 207458"/>
                <a:gd name="connsiteX61" fmla="*/ 553798 w 1185143"/>
                <a:gd name="connsiteY61" fmla="*/ 207458 h 207458"/>
                <a:gd name="connsiteX62" fmla="*/ 553798 w 1185143"/>
                <a:gd name="connsiteY62" fmla="*/ 103756 h 207458"/>
                <a:gd name="connsiteX63" fmla="*/ 579737 w 1185143"/>
                <a:gd name="connsiteY63" fmla="*/ 103756 h 207458"/>
                <a:gd name="connsiteX64" fmla="*/ 579737 w 1185143"/>
                <a:gd name="connsiteY64" fmla="*/ 207458 h 207458"/>
                <a:gd name="connsiteX65" fmla="*/ 631561 w 1185143"/>
                <a:gd name="connsiteY65" fmla="*/ 207458 h 207458"/>
                <a:gd name="connsiteX66" fmla="*/ 631561 w 1185143"/>
                <a:gd name="connsiteY66" fmla="*/ 103756 h 207458"/>
                <a:gd name="connsiteX67" fmla="*/ 657555 w 1185143"/>
                <a:gd name="connsiteY67" fmla="*/ 103756 h 207458"/>
                <a:gd name="connsiteX68" fmla="*/ 657555 w 1185143"/>
                <a:gd name="connsiteY68" fmla="*/ 207458 h 207458"/>
                <a:gd name="connsiteX69" fmla="*/ 709433 w 1185143"/>
                <a:gd name="connsiteY69" fmla="*/ 207458 h 207458"/>
                <a:gd name="connsiteX70" fmla="*/ 709433 w 1185143"/>
                <a:gd name="connsiteY70" fmla="*/ 103756 h 207458"/>
                <a:gd name="connsiteX71" fmla="*/ 735372 w 1185143"/>
                <a:gd name="connsiteY71" fmla="*/ 103756 h 207458"/>
                <a:gd name="connsiteX72" fmla="*/ 735372 w 1185143"/>
                <a:gd name="connsiteY72" fmla="*/ 69225 h 207458"/>
                <a:gd name="connsiteX73" fmla="*/ 709433 w 1185143"/>
                <a:gd name="connsiteY73" fmla="*/ 69225 h 207458"/>
                <a:gd name="connsiteX74" fmla="*/ 709433 w 1185143"/>
                <a:gd name="connsiteY74" fmla="*/ 34477 h 207458"/>
                <a:gd name="connsiteX75" fmla="*/ 657555 w 1185143"/>
                <a:gd name="connsiteY75" fmla="*/ 34477 h 207458"/>
                <a:gd name="connsiteX76" fmla="*/ 657555 w 1185143"/>
                <a:gd name="connsiteY76" fmla="*/ 69225 h 207458"/>
                <a:gd name="connsiteX77" fmla="*/ 631561 w 1185143"/>
                <a:gd name="connsiteY77" fmla="*/ 69225 h 207458"/>
                <a:gd name="connsiteX78" fmla="*/ 631561 w 1185143"/>
                <a:gd name="connsiteY78" fmla="*/ 34477 h 207458"/>
                <a:gd name="connsiteX79" fmla="*/ 579737 w 1185143"/>
                <a:gd name="connsiteY79" fmla="*/ 34477 h 207458"/>
                <a:gd name="connsiteX80" fmla="*/ 579737 w 1185143"/>
                <a:gd name="connsiteY80" fmla="*/ 69225 h 207458"/>
                <a:gd name="connsiteX81" fmla="*/ 501650 w 1185143"/>
                <a:gd name="connsiteY81" fmla="*/ 69225 h 207458"/>
                <a:gd name="connsiteX82" fmla="*/ 501650 w 1185143"/>
                <a:gd name="connsiteY82" fmla="*/ 172927 h 207458"/>
                <a:gd name="connsiteX83" fmla="*/ 467173 w 1185143"/>
                <a:gd name="connsiteY83" fmla="*/ 172927 h 207458"/>
                <a:gd name="connsiteX84" fmla="*/ 467173 w 1185143"/>
                <a:gd name="connsiteY84" fmla="*/ 69225 h 207458"/>
                <a:gd name="connsiteX85" fmla="*/ 380547 w 1185143"/>
                <a:gd name="connsiteY85" fmla="*/ 69225 h 207458"/>
                <a:gd name="connsiteX86" fmla="*/ 380547 w 1185143"/>
                <a:gd name="connsiteY86" fmla="*/ 34477 h 207458"/>
                <a:gd name="connsiteX87" fmla="*/ 467173 w 1185143"/>
                <a:gd name="connsiteY87" fmla="*/ 34477 h 207458"/>
                <a:gd name="connsiteX88" fmla="*/ 467173 w 1185143"/>
                <a:gd name="connsiteY88" fmla="*/ 0 h 207458"/>
                <a:gd name="connsiteX89" fmla="*/ 328669 w 1185143"/>
                <a:gd name="connsiteY89" fmla="*/ 0 h 207458"/>
                <a:gd name="connsiteX90" fmla="*/ 899760 w 1185143"/>
                <a:gd name="connsiteY90" fmla="*/ 34477 h 207458"/>
                <a:gd name="connsiteX91" fmla="*/ 951692 w 1185143"/>
                <a:gd name="connsiteY91" fmla="*/ 34477 h 207458"/>
                <a:gd name="connsiteX92" fmla="*/ 951692 w 1185143"/>
                <a:gd name="connsiteY92" fmla="*/ 0 h 207458"/>
                <a:gd name="connsiteX93" fmla="*/ 899760 w 1185143"/>
                <a:gd name="connsiteY93" fmla="*/ 0 h 207458"/>
                <a:gd name="connsiteX94" fmla="*/ 899760 w 1185143"/>
                <a:gd name="connsiteY94" fmla="*/ 34477 h 2074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</a:cxnLst>
              <a:rect l="l" t="t" r="r" b="b"/>
              <a:pathLst>
                <a:path w="1185143" h="207458">
                  <a:moveTo>
                    <a:pt x="259606" y="138234"/>
                  </a:moveTo>
                  <a:lnTo>
                    <a:pt x="311539" y="138234"/>
                  </a:lnTo>
                  <a:lnTo>
                    <a:pt x="311539" y="103486"/>
                  </a:lnTo>
                  <a:lnTo>
                    <a:pt x="259606" y="103486"/>
                  </a:lnTo>
                  <a:lnTo>
                    <a:pt x="259606" y="138234"/>
                  </a:lnTo>
                  <a:close/>
                  <a:moveTo>
                    <a:pt x="787196" y="103756"/>
                  </a:moveTo>
                  <a:lnTo>
                    <a:pt x="821943" y="103756"/>
                  </a:lnTo>
                  <a:lnTo>
                    <a:pt x="821943" y="172981"/>
                  </a:lnTo>
                  <a:lnTo>
                    <a:pt x="787196" y="172981"/>
                  </a:lnTo>
                  <a:lnTo>
                    <a:pt x="787196" y="103756"/>
                  </a:lnTo>
                  <a:close/>
                  <a:moveTo>
                    <a:pt x="752718" y="69225"/>
                  </a:moveTo>
                  <a:lnTo>
                    <a:pt x="735318" y="103756"/>
                  </a:lnTo>
                  <a:lnTo>
                    <a:pt x="735318" y="172981"/>
                  </a:lnTo>
                  <a:lnTo>
                    <a:pt x="752718" y="207458"/>
                  </a:lnTo>
                  <a:lnTo>
                    <a:pt x="873821" y="207458"/>
                  </a:lnTo>
                  <a:lnTo>
                    <a:pt x="873821" y="69225"/>
                  </a:lnTo>
                  <a:lnTo>
                    <a:pt x="752718" y="69225"/>
                  </a:lnTo>
                  <a:close/>
                  <a:moveTo>
                    <a:pt x="977577" y="69225"/>
                  </a:moveTo>
                  <a:lnTo>
                    <a:pt x="977577" y="207458"/>
                  </a:lnTo>
                  <a:lnTo>
                    <a:pt x="1029455" y="207458"/>
                  </a:lnTo>
                  <a:lnTo>
                    <a:pt x="1029455" y="103756"/>
                  </a:lnTo>
                  <a:lnTo>
                    <a:pt x="1055394" y="103756"/>
                  </a:lnTo>
                  <a:lnTo>
                    <a:pt x="1055394" y="207458"/>
                  </a:lnTo>
                  <a:lnTo>
                    <a:pt x="1107273" y="207458"/>
                  </a:lnTo>
                  <a:lnTo>
                    <a:pt x="1107273" y="103756"/>
                  </a:lnTo>
                  <a:lnTo>
                    <a:pt x="1133266" y="103756"/>
                  </a:lnTo>
                  <a:lnTo>
                    <a:pt x="1133266" y="207458"/>
                  </a:lnTo>
                  <a:lnTo>
                    <a:pt x="1185144" y="207458"/>
                  </a:lnTo>
                  <a:lnTo>
                    <a:pt x="1185144" y="103756"/>
                  </a:lnTo>
                  <a:lnTo>
                    <a:pt x="1168013" y="69225"/>
                  </a:lnTo>
                  <a:lnTo>
                    <a:pt x="977631" y="69225"/>
                  </a:lnTo>
                  <a:close/>
                  <a:moveTo>
                    <a:pt x="899760" y="207458"/>
                  </a:moveTo>
                  <a:lnTo>
                    <a:pt x="951692" y="207458"/>
                  </a:lnTo>
                  <a:lnTo>
                    <a:pt x="951692" y="69225"/>
                  </a:lnTo>
                  <a:lnTo>
                    <a:pt x="899760" y="69009"/>
                  </a:lnTo>
                  <a:lnTo>
                    <a:pt x="899760" y="207458"/>
                  </a:lnTo>
                  <a:close/>
                  <a:moveTo>
                    <a:pt x="112565" y="34477"/>
                  </a:moveTo>
                  <a:lnTo>
                    <a:pt x="112565" y="103756"/>
                  </a:lnTo>
                  <a:lnTo>
                    <a:pt x="86355" y="103756"/>
                  </a:lnTo>
                  <a:lnTo>
                    <a:pt x="112565" y="34477"/>
                  </a:lnTo>
                  <a:close/>
                  <a:moveTo>
                    <a:pt x="69225" y="0"/>
                  </a:moveTo>
                  <a:lnTo>
                    <a:pt x="0" y="207458"/>
                  </a:lnTo>
                  <a:lnTo>
                    <a:pt x="51878" y="207458"/>
                  </a:lnTo>
                  <a:lnTo>
                    <a:pt x="77817" y="138450"/>
                  </a:lnTo>
                  <a:lnTo>
                    <a:pt x="112565" y="138450"/>
                  </a:lnTo>
                  <a:lnTo>
                    <a:pt x="112565" y="207458"/>
                  </a:lnTo>
                  <a:lnTo>
                    <a:pt x="164443" y="207458"/>
                  </a:lnTo>
                  <a:lnTo>
                    <a:pt x="164443" y="0"/>
                  </a:lnTo>
                  <a:lnTo>
                    <a:pt x="69225" y="0"/>
                  </a:lnTo>
                  <a:close/>
                  <a:moveTo>
                    <a:pt x="190328" y="207458"/>
                  </a:moveTo>
                  <a:lnTo>
                    <a:pt x="242206" y="207458"/>
                  </a:lnTo>
                  <a:lnTo>
                    <a:pt x="242206" y="0"/>
                  </a:lnTo>
                  <a:lnTo>
                    <a:pt x="190328" y="0"/>
                  </a:lnTo>
                  <a:lnTo>
                    <a:pt x="190328" y="207458"/>
                  </a:lnTo>
                  <a:close/>
                  <a:moveTo>
                    <a:pt x="328615" y="0"/>
                  </a:moveTo>
                  <a:lnTo>
                    <a:pt x="328615" y="207458"/>
                  </a:lnTo>
                  <a:lnTo>
                    <a:pt x="380493" y="207458"/>
                  </a:lnTo>
                  <a:lnTo>
                    <a:pt x="380493" y="103756"/>
                  </a:lnTo>
                  <a:lnTo>
                    <a:pt x="415295" y="103756"/>
                  </a:lnTo>
                  <a:lnTo>
                    <a:pt x="415295" y="172981"/>
                  </a:lnTo>
                  <a:lnTo>
                    <a:pt x="432641" y="207458"/>
                  </a:lnTo>
                  <a:lnTo>
                    <a:pt x="553798" y="207458"/>
                  </a:lnTo>
                  <a:lnTo>
                    <a:pt x="553798" y="103756"/>
                  </a:lnTo>
                  <a:lnTo>
                    <a:pt x="579737" y="103756"/>
                  </a:lnTo>
                  <a:lnTo>
                    <a:pt x="579737" y="207458"/>
                  </a:lnTo>
                  <a:lnTo>
                    <a:pt x="631561" y="207458"/>
                  </a:lnTo>
                  <a:lnTo>
                    <a:pt x="631561" y="103756"/>
                  </a:lnTo>
                  <a:lnTo>
                    <a:pt x="657555" y="103756"/>
                  </a:lnTo>
                  <a:lnTo>
                    <a:pt x="657555" y="207458"/>
                  </a:lnTo>
                  <a:lnTo>
                    <a:pt x="709433" y="207458"/>
                  </a:lnTo>
                  <a:lnTo>
                    <a:pt x="709433" y="103756"/>
                  </a:lnTo>
                  <a:lnTo>
                    <a:pt x="735372" y="103756"/>
                  </a:lnTo>
                  <a:lnTo>
                    <a:pt x="735372" y="69225"/>
                  </a:lnTo>
                  <a:lnTo>
                    <a:pt x="709433" y="69225"/>
                  </a:lnTo>
                  <a:lnTo>
                    <a:pt x="709433" y="34477"/>
                  </a:lnTo>
                  <a:lnTo>
                    <a:pt x="657555" y="34477"/>
                  </a:lnTo>
                  <a:lnTo>
                    <a:pt x="657555" y="69225"/>
                  </a:lnTo>
                  <a:lnTo>
                    <a:pt x="631561" y="69225"/>
                  </a:lnTo>
                  <a:lnTo>
                    <a:pt x="631561" y="34477"/>
                  </a:lnTo>
                  <a:lnTo>
                    <a:pt x="579737" y="34477"/>
                  </a:lnTo>
                  <a:lnTo>
                    <a:pt x="579737" y="69225"/>
                  </a:lnTo>
                  <a:lnTo>
                    <a:pt x="501650" y="69225"/>
                  </a:lnTo>
                  <a:lnTo>
                    <a:pt x="501650" y="172927"/>
                  </a:lnTo>
                  <a:lnTo>
                    <a:pt x="467173" y="172927"/>
                  </a:lnTo>
                  <a:lnTo>
                    <a:pt x="467173" y="69225"/>
                  </a:lnTo>
                  <a:lnTo>
                    <a:pt x="380547" y="69225"/>
                  </a:lnTo>
                  <a:lnTo>
                    <a:pt x="380547" y="34477"/>
                  </a:lnTo>
                  <a:lnTo>
                    <a:pt x="467173" y="34477"/>
                  </a:lnTo>
                  <a:lnTo>
                    <a:pt x="467173" y="0"/>
                  </a:lnTo>
                  <a:lnTo>
                    <a:pt x="328669" y="0"/>
                  </a:lnTo>
                  <a:close/>
                  <a:moveTo>
                    <a:pt x="899760" y="34477"/>
                  </a:moveTo>
                  <a:lnTo>
                    <a:pt x="951692" y="34477"/>
                  </a:lnTo>
                  <a:lnTo>
                    <a:pt x="951692" y="0"/>
                  </a:lnTo>
                  <a:lnTo>
                    <a:pt x="899760" y="0"/>
                  </a:lnTo>
                  <a:lnTo>
                    <a:pt x="899760" y="34477"/>
                  </a:lnTo>
                  <a:close/>
                </a:path>
              </a:pathLst>
            </a:custGeom>
            <a:grpFill/>
            <a:ln w="538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18B7952A-89C0-D564-994E-FA9124E6506C}"/>
                </a:ext>
              </a:extLst>
            </p:cNvPr>
            <p:cNvSpPr/>
            <p:nvPr/>
          </p:nvSpPr>
          <p:spPr>
            <a:xfrm>
              <a:off x="9951588" y="538699"/>
              <a:ext cx="415348" cy="363146"/>
            </a:xfrm>
            <a:custGeom>
              <a:avLst/>
              <a:gdLst>
                <a:gd name="connsiteX0" fmla="*/ 156175 w 415348"/>
                <a:gd name="connsiteY0" fmla="*/ 155526 h 363146"/>
                <a:gd name="connsiteX1" fmla="*/ 207782 w 415348"/>
                <a:gd name="connsiteY1" fmla="*/ 103864 h 363146"/>
                <a:gd name="connsiteX2" fmla="*/ 259390 w 415348"/>
                <a:gd name="connsiteY2" fmla="*/ 155526 h 363146"/>
                <a:gd name="connsiteX3" fmla="*/ 207782 w 415348"/>
                <a:gd name="connsiteY3" fmla="*/ 207296 h 363146"/>
                <a:gd name="connsiteX4" fmla="*/ 156175 w 415348"/>
                <a:gd name="connsiteY4" fmla="*/ 155526 h 363146"/>
                <a:gd name="connsiteX5" fmla="*/ 207782 w 415348"/>
                <a:gd name="connsiteY5" fmla="*/ 0 h 363146"/>
                <a:gd name="connsiteX6" fmla="*/ 0 w 415348"/>
                <a:gd name="connsiteY6" fmla="*/ 207350 h 363146"/>
                <a:gd name="connsiteX7" fmla="*/ 51986 w 415348"/>
                <a:gd name="connsiteY7" fmla="*/ 259228 h 363146"/>
                <a:gd name="connsiteX8" fmla="*/ 104134 w 415348"/>
                <a:gd name="connsiteY8" fmla="*/ 207512 h 363146"/>
                <a:gd name="connsiteX9" fmla="*/ 155904 w 415348"/>
                <a:gd name="connsiteY9" fmla="*/ 259499 h 363146"/>
                <a:gd name="connsiteX10" fmla="*/ 103810 w 415348"/>
                <a:gd name="connsiteY10" fmla="*/ 311593 h 363146"/>
                <a:gd name="connsiteX11" fmla="*/ 155904 w 415348"/>
                <a:gd name="connsiteY11" fmla="*/ 363147 h 363146"/>
                <a:gd name="connsiteX12" fmla="*/ 206810 w 415348"/>
                <a:gd name="connsiteY12" fmla="*/ 311431 h 363146"/>
                <a:gd name="connsiteX13" fmla="*/ 259823 w 415348"/>
                <a:gd name="connsiteY13" fmla="*/ 363147 h 363146"/>
                <a:gd name="connsiteX14" fmla="*/ 311485 w 415348"/>
                <a:gd name="connsiteY14" fmla="*/ 311431 h 363146"/>
                <a:gd name="connsiteX15" fmla="*/ 259823 w 415348"/>
                <a:gd name="connsiteY15" fmla="*/ 259769 h 363146"/>
                <a:gd name="connsiteX16" fmla="*/ 312025 w 415348"/>
                <a:gd name="connsiteY16" fmla="*/ 207512 h 363146"/>
                <a:gd name="connsiteX17" fmla="*/ 363633 w 415348"/>
                <a:gd name="connsiteY17" fmla="*/ 259228 h 363146"/>
                <a:gd name="connsiteX18" fmla="*/ 415349 w 415348"/>
                <a:gd name="connsiteY18" fmla="*/ 207512 h 363146"/>
                <a:gd name="connsiteX19" fmla="*/ 207782 w 415348"/>
                <a:gd name="connsiteY19" fmla="*/ 0 h 3631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415348" h="363146">
                  <a:moveTo>
                    <a:pt x="156175" y="155526"/>
                  </a:moveTo>
                  <a:lnTo>
                    <a:pt x="207782" y="103864"/>
                  </a:lnTo>
                  <a:lnTo>
                    <a:pt x="259390" y="155526"/>
                  </a:lnTo>
                  <a:lnTo>
                    <a:pt x="207782" y="207296"/>
                  </a:lnTo>
                  <a:lnTo>
                    <a:pt x="156175" y="155526"/>
                  </a:lnTo>
                  <a:close/>
                  <a:moveTo>
                    <a:pt x="207782" y="0"/>
                  </a:moveTo>
                  <a:lnTo>
                    <a:pt x="0" y="207350"/>
                  </a:lnTo>
                  <a:lnTo>
                    <a:pt x="51986" y="259228"/>
                  </a:lnTo>
                  <a:lnTo>
                    <a:pt x="104134" y="207512"/>
                  </a:lnTo>
                  <a:lnTo>
                    <a:pt x="155904" y="259499"/>
                  </a:lnTo>
                  <a:lnTo>
                    <a:pt x="103810" y="311593"/>
                  </a:lnTo>
                  <a:lnTo>
                    <a:pt x="155904" y="363147"/>
                  </a:lnTo>
                  <a:lnTo>
                    <a:pt x="206810" y="311431"/>
                  </a:lnTo>
                  <a:lnTo>
                    <a:pt x="259823" y="363147"/>
                  </a:lnTo>
                  <a:lnTo>
                    <a:pt x="311485" y="311431"/>
                  </a:lnTo>
                  <a:lnTo>
                    <a:pt x="259823" y="259769"/>
                  </a:lnTo>
                  <a:lnTo>
                    <a:pt x="312025" y="207512"/>
                  </a:lnTo>
                  <a:lnTo>
                    <a:pt x="363633" y="259228"/>
                  </a:lnTo>
                  <a:lnTo>
                    <a:pt x="415349" y="207512"/>
                  </a:lnTo>
                  <a:lnTo>
                    <a:pt x="207782" y="0"/>
                  </a:lnTo>
                  <a:close/>
                </a:path>
              </a:pathLst>
            </a:custGeom>
            <a:solidFill>
              <a:schemeClr val="accent2"/>
            </a:solidFill>
            <a:ln w="538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12E37481-81B7-DAE5-9279-A2E3EA447BE6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184900" y="0"/>
            <a:ext cx="6007100" cy="6858000"/>
          </a:xfrm>
          <a:custGeom>
            <a:avLst/>
            <a:gdLst>
              <a:gd name="connsiteX0" fmla="*/ 5073042 w 6007100"/>
              <a:gd name="connsiteY0" fmla="*/ 746373 h 6858000"/>
              <a:gd name="connsiteX1" fmla="*/ 5107789 w 6007100"/>
              <a:gd name="connsiteY1" fmla="*/ 746373 h 6858000"/>
              <a:gd name="connsiteX2" fmla="*/ 5107789 w 6007100"/>
              <a:gd name="connsiteY2" fmla="*/ 815598 h 6858000"/>
              <a:gd name="connsiteX3" fmla="*/ 5073042 w 6007100"/>
              <a:gd name="connsiteY3" fmla="*/ 815598 h 6858000"/>
              <a:gd name="connsiteX4" fmla="*/ 5021218 w 6007100"/>
              <a:gd name="connsiteY4" fmla="*/ 746266 h 6858000"/>
              <a:gd name="connsiteX5" fmla="*/ 5021218 w 6007100"/>
              <a:gd name="connsiteY5" fmla="*/ 746373 h 6858000"/>
              <a:gd name="connsiteX6" fmla="*/ 5021164 w 6007100"/>
              <a:gd name="connsiteY6" fmla="*/ 746373 h 6858000"/>
              <a:gd name="connsiteX7" fmla="*/ 4545452 w 6007100"/>
              <a:gd name="connsiteY7" fmla="*/ 746103 h 6858000"/>
              <a:gd name="connsiteX8" fmla="*/ 4545452 w 6007100"/>
              <a:gd name="connsiteY8" fmla="*/ 780851 h 6858000"/>
              <a:gd name="connsiteX9" fmla="*/ 4597385 w 6007100"/>
              <a:gd name="connsiteY9" fmla="*/ 780851 h 6858000"/>
              <a:gd name="connsiteX10" fmla="*/ 4597385 w 6007100"/>
              <a:gd name="connsiteY10" fmla="*/ 746103 h 6858000"/>
              <a:gd name="connsiteX11" fmla="*/ 5263423 w 6007100"/>
              <a:gd name="connsiteY11" fmla="*/ 711842 h 6858000"/>
              <a:gd name="connsiteX12" fmla="*/ 5263423 w 6007100"/>
              <a:gd name="connsiteY12" fmla="*/ 850075 h 6858000"/>
              <a:gd name="connsiteX13" fmla="*/ 5315301 w 6007100"/>
              <a:gd name="connsiteY13" fmla="*/ 850075 h 6858000"/>
              <a:gd name="connsiteX14" fmla="*/ 5315301 w 6007100"/>
              <a:gd name="connsiteY14" fmla="*/ 746373 h 6858000"/>
              <a:gd name="connsiteX15" fmla="*/ 5341240 w 6007100"/>
              <a:gd name="connsiteY15" fmla="*/ 746373 h 6858000"/>
              <a:gd name="connsiteX16" fmla="*/ 5341240 w 6007100"/>
              <a:gd name="connsiteY16" fmla="*/ 850075 h 6858000"/>
              <a:gd name="connsiteX17" fmla="*/ 5393119 w 6007100"/>
              <a:gd name="connsiteY17" fmla="*/ 850075 h 6858000"/>
              <a:gd name="connsiteX18" fmla="*/ 5393119 w 6007100"/>
              <a:gd name="connsiteY18" fmla="*/ 746373 h 6858000"/>
              <a:gd name="connsiteX19" fmla="*/ 5419112 w 6007100"/>
              <a:gd name="connsiteY19" fmla="*/ 746373 h 6858000"/>
              <a:gd name="connsiteX20" fmla="*/ 5419112 w 6007100"/>
              <a:gd name="connsiteY20" fmla="*/ 850075 h 6858000"/>
              <a:gd name="connsiteX21" fmla="*/ 5470990 w 6007100"/>
              <a:gd name="connsiteY21" fmla="*/ 850075 h 6858000"/>
              <a:gd name="connsiteX22" fmla="*/ 5470990 w 6007100"/>
              <a:gd name="connsiteY22" fmla="*/ 746373 h 6858000"/>
              <a:gd name="connsiteX23" fmla="*/ 5453859 w 6007100"/>
              <a:gd name="connsiteY23" fmla="*/ 711842 h 6858000"/>
              <a:gd name="connsiteX24" fmla="*/ 5263477 w 6007100"/>
              <a:gd name="connsiteY24" fmla="*/ 711842 h 6858000"/>
              <a:gd name="connsiteX25" fmla="*/ 5185606 w 6007100"/>
              <a:gd name="connsiteY25" fmla="*/ 711626 h 6858000"/>
              <a:gd name="connsiteX26" fmla="*/ 5185606 w 6007100"/>
              <a:gd name="connsiteY26" fmla="*/ 850075 h 6858000"/>
              <a:gd name="connsiteX27" fmla="*/ 5237538 w 6007100"/>
              <a:gd name="connsiteY27" fmla="*/ 850075 h 6858000"/>
              <a:gd name="connsiteX28" fmla="*/ 5237538 w 6007100"/>
              <a:gd name="connsiteY28" fmla="*/ 711842 h 6858000"/>
              <a:gd name="connsiteX29" fmla="*/ 4398411 w 6007100"/>
              <a:gd name="connsiteY29" fmla="*/ 677094 h 6858000"/>
              <a:gd name="connsiteX30" fmla="*/ 4398411 w 6007100"/>
              <a:gd name="connsiteY30" fmla="*/ 746373 h 6858000"/>
              <a:gd name="connsiteX31" fmla="*/ 4372201 w 6007100"/>
              <a:gd name="connsiteY31" fmla="*/ 746373 h 6858000"/>
              <a:gd name="connsiteX32" fmla="*/ 5185606 w 6007100"/>
              <a:gd name="connsiteY32" fmla="*/ 642617 h 6858000"/>
              <a:gd name="connsiteX33" fmla="*/ 5185606 w 6007100"/>
              <a:gd name="connsiteY33" fmla="*/ 677094 h 6858000"/>
              <a:gd name="connsiteX34" fmla="*/ 5237538 w 6007100"/>
              <a:gd name="connsiteY34" fmla="*/ 677094 h 6858000"/>
              <a:gd name="connsiteX35" fmla="*/ 5237538 w 6007100"/>
              <a:gd name="connsiteY35" fmla="*/ 642617 h 6858000"/>
              <a:gd name="connsiteX36" fmla="*/ 4614461 w 6007100"/>
              <a:gd name="connsiteY36" fmla="*/ 642617 h 6858000"/>
              <a:gd name="connsiteX37" fmla="*/ 4614461 w 6007100"/>
              <a:gd name="connsiteY37" fmla="*/ 850075 h 6858000"/>
              <a:gd name="connsiteX38" fmla="*/ 4666339 w 6007100"/>
              <a:gd name="connsiteY38" fmla="*/ 850075 h 6858000"/>
              <a:gd name="connsiteX39" fmla="*/ 4666339 w 6007100"/>
              <a:gd name="connsiteY39" fmla="*/ 746373 h 6858000"/>
              <a:gd name="connsiteX40" fmla="*/ 4701141 w 6007100"/>
              <a:gd name="connsiteY40" fmla="*/ 746373 h 6858000"/>
              <a:gd name="connsiteX41" fmla="*/ 4701141 w 6007100"/>
              <a:gd name="connsiteY41" fmla="*/ 815598 h 6858000"/>
              <a:gd name="connsiteX42" fmla="*/ 4718487 w 6007100"/>
              <a:gd name="connsiteY42" fmla="*/ 850075 h 6858000"/>
              <a:gd name="connsiteX43" fmla="*/ 4839644 w 6007100"/>
              <a:gd name="connsiteY43" fmla="*/ 850075 h 6858000"/>
              <a:gd name="connsiteX44" fmla="*/ 4839644 w 6007100"/>
              <a:gd name="connsiteY44" fmla="*/ 746373 h 6858000"/>
              <a:gd name="connsiteX45" fmla="*/ 4865583 w 6007100"/>
              <a:gd name="connsiteY45" fmla="*/ 746373 h 6858000"/>
              <a:gd name="connsiteX46" fmla="*/ 4865583 w 6007100"/>
              <a:gd name="connsiteY46" fmla="*/ 850075 h 6858000"/>
              <a:gd name="connsiteX47" fmla="*/ 4917407 w 6007100"/>
              <a:gd name="connsiteY47" fmla="*/ 850075 h 6858000"/>
              <a:gd name="connsiteX48" fmla="*/ 4917407 w 6007100"/>
              <a:gd name="connsiteY48" fmla="*/ 746373 h 6858000"/>
              <a:gd name="connsiteX49" fmla="*/ 4943401 w 6007100"/>
              <a:gd name="connsiteY49" fmla="*/ 746373 h 6858000"/>
              <a:gd name="connsiteX50" fmla="*/ 4943401 w 6007100"/>
              <a:gd name="connsiteY50" fmla="*/ 850075 h 6858000"/>
              <a:gd name="connsiteX51" fmla="*/ 4995279 w 6007100"/>
              <a:gd name="connsiteY51" fmla="*/ 850075 h 6858000"/>
              <a:gd name="connsiteX52" fmla="*/ 4995279 w 6007100"/>
              <a:gd name="connsiteY52" fmla="*/ 746373 h 6858000"/>
              <a:gd name="connsiteX53" fmla="*/ 5021164 w 6007100"/>
              <a:gd name="connsiteY53" fmla="*/ 746373 h 6858000"/>
              <a:gd name="connsiteX54" fmla="*/ 5021164 w 6007100"/>
              <a:gd name="connsiteY54" fmla="*/ 815598 h 6858000"/>
              <a:gd name="connsiteX55" fmla="*/ 5038564 w 6007100"/>
              <a:gd name="connsiteY55" fmla="*/ 850075 h 6858000"/>
              <a:gd name="connsiteX56" fmla="*/ 5159667 w 6007100"/>
              <a:gd name="connsiteY56" fmla="*/ 850075 h 6858000"/>
              <a:gd name="connsiteX57" fmla="*/ 5159667 w 6007100"/>
              <a:gd name="connsiteY57" fmla="*/ 711842 h 6858000"/>
              <a:gd name="connsiteX58" fmla="*/ 5038564 w 6007100"/>
              <a:gd name="connsiteY58" fmla="*/ 711842 h 6858000"/>
              <a:gd name="connsiteX59" fmla="*/ 5021218 w 6007100"/>
              <a:gd name="connsiteY59" fmla="*/ 746266 h 6858000"/>
              <a:gd name="connsiteX60" fmla="*/ 5021218 w 6007100"/>
              <a:gd name="connsiteY60" fmla="*/ 711842 h 6858000"/>
              <a:gd name="connsiteX61" fmla="*/ 4995279 w 6007100"/>
              <a:gd name="connsiteY61" fmla="*/ 711842 h 6858000"/>
              <a:gd name="connsiteX62" fmla="*/ 4995279 w 6007100"/>
              <a:gd name="connsiteY62" fmla="*/ 677094 h 6858000"/>
              <a:gd name="connsiteX63" fmla="*/ 4943401 w 6007100"/>
              <a:gd name="connsiteY63" fmla="*/ 677094 h 6858000"/>
              <a:gd name="connsiteX64" fmla="*/ 4943401 w 6007100"/>
              <a:gd name="connsiteY64" fmla="*/ 711842 h 6858000"/>
              <a:gd name="connsiteX65" fmla="*/ 4917407 w 6007100"/>
              <a:gd name="connsiteY65" fmla="*/ 711842 h 6858000"/>
              <a:gd name="connsiteX66" fmla="*/ 4917407 w 6007100"/>
              <a:gd name="connsiteY66" fmla="*/ 677094 h 6858000"/>
              <a:gd name="connsiteX67" fmla="*/ 4865583 w 6007100"/>
              <a:gd name="connsiteY67" fmla="*/ 677094 h 6858000"/>
              <a:gd name="connsiteX68" fmla="*/ 4865583 w 6007100"/>
              <a:gd name="connsiteY68" fmla="*/ 711842 h 6858000"/>
              <a:gd name="connsiteX69" fmla="*/ 4787496 w 6007100"/>
              <a:gd name="connsiteY69" fmla="*/ 711842 h 6858000"/>
              <a:gd name="connsiteX70" fmla="*/ 4787496 w 6007100"/>
              <a:gd name="connsiteY70" fmla="*/ 815544 h 6858000"/>
              <a:gd name="connsiteX71" fmla="*/ 4753019 w 6007100"/>
              <a:gd name="connsiteY71" fmla="*/ 815544 h 6858000"/>
              <a:gd name="connsiteX72" fmla="*/ 4753019 w 6007100"/>
              <a:gd name="connsiteY72" fmla="*/ 711842 h 6858000"/>
              <a:gd name="connsiteX73" fmla="*/ 4666393 w 6007100"/>
              <a:gd name="connsiteY73" fmla="*/ 711842 h 6858000"/>
              <a:gd name="connsiteX74" fmla="*/ 4666393 w 6007100"/>
              <a:gd name="connsiteY74" fmla="*/ 677094 h 6858000"/>
              <a:gd name="connsiteX75" fmla="*/ 4753019 w 6007100"/>
              <a:gd name="connsiteY75" fmla="*/ 677094 h 6858000"/>
              <a:gd name="connsiteX76" fmla="*/ 4753019 w 6007100"/>
              <a:gd name="connsiteY76" fmla="*/ 642617 h 6858000"/>
              <a:gd name="connsiteX77" fmla="*/ 4614515 w 6007100"/>
              <a:gd name="connsiteY77" fmla="*/ 642617 h 6858000"/>
              <a:gd name="connsiteX78" fmla="*/ 4476174 w 6007100"/>
              <a:gd name="connsiteY78" fmla="*/ 642617 h 6858000"/>
              <a:gd name="connsiteX79" fmla="*/ 4476174 w 6007100"/>
              <a:gd name="connsiteY79" fmla="*/ 850075 h 6858000"/>
              <a:gd name="connsiteX80" fmla="*/ 4528052 w 6007100"/>
              <a:gd name="connsiteY80" fmla="*/ 850075 h 6858000"/>
              <a:gd name="connsiteX81" fmla="*/ 4528052 w 6007100"/>
              <a:gd name="connsiteY81" fmla="*/ 642617 h 6858000"/>
              <a:gd name="connsiteX82" fmla="*/ 4355071 w 6007100"/>
              <a:gd name="connsiteY82" fmla="*/ 642617 h 6858000"/>
              <a:gd name="connsiteX83" fmla="*/ 4285846 w 6007100"/>
              <a:gd name="connsiteY83" fmla="*/ 850075 h 6858000"/>
              <a:gd name="connsiteX84" fmla="*/ 4337724 w 6007100"/>
              <a:gd name="connsiteY84" fmla="*/ 850075 h 6858000"/>
              <a:gd name="connsiteX85" fmla="*/ 4363663 w 6007100"/>
              <a:gd name="connsiteY85" fmla="*/ 781067 h 6858000"/>
              <a:gd name="connsiteX86" fmla="*/ 4398411 w 6007100"/>
              <a:gd name="connsiteY86" fmla="*/ 781067 h 6858000"/>
              <a:gd name="connsiteX87" fmla="*/ 4398411 w 6007100"/>
              <a:gd name="connsiteY87" fmla="*/ 850075 h 6858000"/>
              <a:gd name="connsiteX88" fmla="*/ 4450289 w 6007100"/>
              <a:gd name="connsiteY88" fmla="*/ 850075 h 6858000"/>
              <a:gd name="connsiteX89" fmla="*/ 4450289 w 6007100"/>
              <a:gd name="connsiteY89" fmla="*/ 642617 h 6858000"/>
              <a:gd name="connsiteX90" fmla="*/ 3974470 w 6007100"/>
              <a:gd name="connsiteY90" fmla="*/ 642563 h 6858000"/>
              <a:gd name="connsiteX91" fmla="*/ 4026078 w 6007100"/>
              <a:gd name="connsiteY91" fmla="*/ 694225 h 6858000"/>
              <a:gd name="connsiteX92" fmla="*/ 3974470 w 6007100"/>
              <a:gd name="connsiteY92" fmla="*/ 745995 h 6858000"/>
              <a:gd name="connsiteX93" fmla="*/ 3922863 w 6007100"/>
              <a:gd name="connsiteY93" fmla="*/ 694225 h 6858000"/>
              <a:gd name="connsiteX94" fmla="*/ 3974470 w 6007100"/>
              <a:gd name="connsiteY94" fmla="*/ 538699 h 6858000"/>
              <a:gd name="connsiteX95" fmla="*/ 3766688 w 6007100"/>
              <a:gd name="connsiteY95" fmla="*/ 746049 h 6858000"/>
              <a:gd name="connsiteX96" fmla="*/ 3818674 w 6007100"/>
              <a:gd name="connsiteY96" fmla="*/ 797927 h 6858000"/>
              <a:gd name="connsiteX97" fmla="*/ 3870822 w 6007100"/>
              <a:gd name="connsiteY97" fmla="*/ 746211 h 6858000"/>
              <a:gd name="connsiteX98" fmla="*/ 3922592 w 6007100"/>
              <a:gd name="connsiteY98" fmla="*/ 798198 h 6858000"/>
              <a:gd name="connsiteX99" fmla="*/ 3870498 w 6007100"/>
              <a:gd name="connsiteY99" fmla="*/ 850292 h 6858000"/>
              <a:gd name="connsiteX100" fmla="*/ 3922592 w 6007100"/>
              <a:gd name="connsiteY100" fmla="*/ 901846 h 6858000"/>
              <a:gd name="connsiteX101" fmla="*/ 3973498 w 6007100"/>
              <a:gd name="connsiteY101" fmla="*/ 850130 h 6858000"/>
              <a:gd name="connsiteX102" fmla="*/ 4026511 w 6007100"/>
              <a:gd name="connsiteY102" fmla="*/ 901846 h 6858000"/>
              <a:gd name="connsiteX103" fmla="*/ 4078173 w 6007100"/>
              <a:gd name="connsiteY103" fmla="*/ 850130 h 6858000"/>
              <a:gd name="connsiteX104" fmla="*/ 4026511 w 6007100"/>
              <a:gd name="connsiteY104" fmla="*/ 798468 h 6858000"/>
              <a:gd name="connsiteX105" fmla="*/ 4078713 w 6007100"/>
              <a:gd name="connsiteY105" fmla="*/ 746211 h 6858000"/>
              <a:gd name="connsiteX106" fmla="*/ 4130321 w 6007100"/>
              <a:gd name="connsiteY106" fmla="*/ 797927 h 6858000"/>
              <a:gd name="connsiteX107" fmla="*/ 4182037 w 6007100"/>
              <a:gd name="connsiteY107" fmla="*/ 746211 h 6858000"/>
              <a:gd name="connsiteX108" fmla="*/ 0 w 6007100"/>
              <a:gd name="connsiteY108" fmla="*/ 0 h 6858000"/>
              <a:gd name="connsiteX109" fmla="*/ 6007100 w 6007100"/>
              <a:gd name="connsiteY109" fmla="*/ 0 h 6858000"/>
              <a:gd name="connsiteX110" fmla="*/ 6007100 w 6007100"/>
              <a:gd name="connsiteY110" fmla="*/ 6858000 h 6858000"/>
              <a:gd name="connsiteX111" fmla="*/ 0 w 6007100"/>
              <a:gd name="connsiteY111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</a:cxnLst>
            <a:rect l="l" t="t" r="r" b="b"/>
            <a:pathLst>
              <a:path w="6007100" h="6858000">
                <a:moveTo>
                  <a:pt x="5073042" y="746373"/>
                </a:moveTo>
                <a:lnTo>
                  <a:pt x="5107789" y="746373"/>
                </a:lnTo>
                <a:lnTo>
                  <a:pt x="5107789" y="815598"/>
                </a:lnTo>
                <a:lnTo>
                  <a:pt x="5073042" y="815598"/>
                </a:lnTo>
                <a:close/>
                <a:moveTo>
                  <a:pt x="5021218" y="746266"/>
                </a:moveTo>
                <a:lnTo>
                  <a:pt x="5021218" y="746373"/>
                </a:lnTo>
                <a:lnTo>
                  <a:pt x="5021164" y="746373"/>
                </a:lnTo>
                <a:close/>
                <a:moveTo>
                  <a:pt x="4545452" y="746103"/>
                </a:moveTo>
                <a:lnTo>
                  <a:pt x="4545452" y="780851"/>
                </a:lnTo>
                <a:lnTo>
                  <a:pt x="4597385" y="780851"/>
                </a:lnTo>
                <a:lnTo>
                  <a:pt x="4597385" y="746103"/>
                </a:lnTo>
                <a:close/>
                <a:moveTo>
                  <a:pt x="5263423" y="711842"/>
                </a:moveTo>
                <a:lnTo>
                  <a:pt x="5263423" y="850075"/>
                </a:lnTo>
                <a:lnTo>
                  <a:pt x="5315301" y="850075"/>
                </a:lnTo>
                <a:lnTo>
                  <a:pt x="5315301" y="746373"/>
                </a:lnTo>
                <a:lnTo>
                  <a:pt x="5341240" y="746373"/>
                </a:lnTo>
                <a:lnTo>
                  <a:pt x="5341240" y="850075"/>
                </a:lnTo>
                <a:lnTo>
                  <a:pt x="5393119" y="850075"/>
                </a:lnTo>
                <a:lnTo>
                  <a:pt x="5393119" y="746373"/>
                </a:lnTo>
                <a:lnTo>
                  <a:pt x="5419112" y="746373"/>
                </a:lnTo>
                <a:lnTo>
                  <a:pt x="5419112" y="850075"/>
                </a:lnTo>
                <a:lnTo>
                  <a:pt x="5470990" y="850075"/>
                </a:lnTo>
                <a:lnTo>
                  <a:pt x="5470990" y="746373"/>
                </a:lnTo>
                <a:lnTo>
                  <a:pt x="5453859" y="711842"/>
                </a:lnTo>
                <a:lnTo>
                  <a:pt x="5263477" y="711842"/>
                </a:lnTo>
                <a:close/>
                <a:moveTo>
                  <a:pt x="5185606" y="711626"/>
                </a:moveTo>
                <a:lnTo>
                  <a:pt x="5185606" y="850075"/>
                </a:lnTo>
                <a:lnTo>
                  <a:pt x="5237538" y="850075"/>
                </a:lnTo>
                <a:lnTo>
                  <a:pt x="5237538" y="711842"/>
                </a:lnTo>
                <a:close/>
                <a:moveTo>
                  <a:pt x="4398411" y="677094"/>
                </a:moveTo>
                <a:lnTo>
                  <a:pt x="4398411" y="746373"/>
                </a:lnTo>
                <a:lnTo>
                  <a:pt x="4372201" y="746373"/>
                </a:lnTo>
                <a:close/>
                <a:moveTo>
                  <a:pt x="5185606" y="642617"/>
                </a:moveTo>
                <a:lnTo>
                  <a:pt x="5185606" y="677094"/>
                </a:lnTo>
                <a:lnTo>
                  <a:pt x="5237538" y="677094"/>
                </a:lnTo>
                <a:lnTo>
                  <a:pt x="5237538" y="642617"/>
                </a:lnTo>
                <a:close/>
                <a:moveTo>
                  <a:pt x="4614461" y="642617"/>
                </a:moveTo>
                <a:lnTo>
                  <a:pt x="4614461" y="850075"/>
                </a:lnTo>
                <a:lnTo>
                  <a:pt x="4666339" y="850075"/>
                </a:lnTo>
                <a:lnTo>
                  <a:pt x="4666339" y="746373"/>
                </a:lnTo>
                <a:lnTo>
                  <a:pt x="4701141" y="746373"/>
                </a:lnTo>
                <a:lnTo>
                  <a:pt x="4701141" y="815598"/>
                </a:lnTo>
                <a:lnTo>
                  <a:pt x="4718487" y="850075"/>
                </a:lnTo>
                <a:lnTo>
                  <a:pt x="4839644" y="850075"/>
                </a:lnTo>
                <a:lnTo>
                  <a:pt x="4839644" y="746373"/>
                </a:lnTo>
                <a:lnTo>
                  <a:pt x="4865583" y="746373"/>
                </a:lnTo>
                <a:lnTo>
                  <a:pt x="4865583" y="850075"/>
                </a:lnTo>
                <a:lnTo>
                  <a:pt x="4917407" y="850075"/>
                </a:lnTo>
                <a:lnTo>
                  <a:pt x="4917407" y="746373"/>
                </a:lnTo>
                <a:lnTo>
                  <a:pt x="4943401" y="746373"/>
                </a:lnTo>
                <a:lnTo>
                  <a:pt x="4943401" y="850075"/>
                </a:lnTo>
                <a:lnTo>
                  <a:pt x="4995279" y="850075"/>
                </a:lnTo>
                <a:lnTo>
                  <a:pt x="4995279" y="746373"/>
                </a:lnTo>
                <a:lnTo>
                  <a:pt x="5021164" y="746373"/>
                </a:lnTo>
                <a:lnTo>
                  <a:pt x="5021164" y="815598"/>
                </a:lnTo>
                <a:lnTo>
                  <a:pt x="5038564" y="850075"/>
                </a:lnTo>
                <a:lnTo>
                  <a:pt x="5159667" y="850075"/>
                </a:lnTo>
                <a:lnTo>
                  <a:pt x="5159667" y="711842"/>
                </a:lnTo>
                <a:lnTo>
                  <a:pt x="5038564" y="711842"/>
                </a:lnTo>
                <a:lnTo>
                  <a:pt x="5021218" y="746266"/>
                </a:lnTo>
                <a:lnTo>
                  <a:pt x="5021218" y="711842"/>
                </a:lnTo>
                <a:lnTo>
                  <a:pt x="4995279" y="711842"/>
                </a:lnTo>
                <a:lnTo>
                  <a:pt x="4995279" y="677094"/>
                </a:lnTo>
                <a:lnTo>
                  <a:pt x="4943401" y="677094"/>
                </a:lnTo>
                <a:lnTo>
                  <a:pt x="4943401" y="711842"/>
                </a:lnTo>
                <a:lnTo>
                  <a:pt x="4917407" y="711842"/>
                </a:lnTo>
                <a:lnTo>
                  <a:pt x="4917407" y="677094"/>
                </a:lnTo>
                <a:lnTo>
                  <a:pt x="4865583" y="677094"/>
                </a:lnTo>
                <a:lnTo>
                  <a:pt x="4865583" y="711842"/>
                </a:lnTo>
                <a:lnTo>
                  <a:pt x="4787496" y="711842"/>
                </a:lnTo>
                <a:lnTo>
                  <a:pt x="4787496" y="815544"/>
                </a:lnTo>
                <a:lnTo>
                  <a:pt x="4753019" y="815544"/>
                </a:lnTo>
                <a:lnTo>
                  <a:pt x="4753019" y="711842"/>
                </a:lnTo>
                <a:lnTo>
                  <a:pt x="4666393" y="711842"/>
                </a:lnTo>
                <a:lnTo>
                  <a:pt x="4666393" y="677094"/>
                </a:lnTo>
                <a:lnTo>
                  <a:pt x="4753019" y="677094"/>
                </a:lnTo>
                <a:lnTo>
                  <a:pt x="4753019" y="642617"/>
                </a:lnTo>
                <a:lnTo>
                  <a:pt x="4614515" y="642617"/>
                </a:lnTo>
                <a:close/>
                <a:moveTo>
                  <a:pt x="4476174" y="642617"/>
                </a:moveTo>
                <a:lnTo>
                  <a:pt x="4476174" y="850075"/>
                </a:lnTo>
                <a:lnTo>
                  <a:pt x="4528052" y="850075"/>
                </a:lnTo>
                <a:lnTo>
                  <a:pt x="4528052" y="642617"/>
                </a:lnTo>
                <a:close/>
                <a:moveTo>
                  <a:pt x="4355071" y="642617"/>
                </a:moveTo>
                <a:lnTo>
                  <a:pt x="4285846" y="850075"/>
                </a:lnTo>
                <a:lnTo>
                  <a:pt x="4337724" y="850075"/>
                </a:lnTo>
                <a:lnTo>
                  <a:pt x="4363663" y="781067"/>
                </a:lnTo>
                <a:lnTo>
                  <a:pt x="4398411" y="781067"/>
                </a:lnTo>
                <a:lnTo>
                  <a:pt x="4398411" y="850075"/>
                </a:lnTo>
                <a:lnTo>
                  <a:pt x="4450289" y="850075"/>
                </a:lnTo>
                <a:lnTo>
                  <a:pt x="4450289" y="642617"/>
                </a:lnTo>
                <a:close/>
                <a:moveTo>
                  <a:pt x="3974470" y="642563"/>
                </a:moveTo>
                <a:lnTo>
                  <a:pt x="4026078" y="694225"/>
                </a:lnTo>
                <a:lnTo>
                  <a:pt x="3974470" y="745995"/>
                </a:lnTo>
                <a:lnTo>
                  <a:pt x="3922863" y="694225"/>
                </a:lnTo>
                <a:close/>
                <a:moveTo>
                  <a:pt x="3974470" y="538699"/>
                </a:moveTo>
                <a:lnTo>
                  <a:pt x="3766688" y="746049"/>
                </a:lnTo>
                <a:lnTo>
                  <a:pt x="3818674" y="797927"/>
                </a:lnTo>
                <a:lnTo>
                  <a:pt x="3870822" y="746211"/>
                </a:lnTo>
                <a:lnTo>
                  <a:pt x="3922592" y="798198"/>
                </a:lnTo>
                <a:lnTo>
                  <a:pt x="3870498" y="850292"/>
                </a:lnTo>
                <a:lnTo>
                  <a:pt x="3922592" y="901846"/>
                </a:lnTo>
                <a:lnTo>
                  <a:pt x="3973498" y="850130"/>
                </a:lnTo>
                <a:lnTo>
                  <a:pt x="4026511" y="901846"/>
                </a:lnTo>
                <a:lnTo>
                  <a:pt x="4078173" y="850130"/>
                </a:lnTo>
                <a:lnTo>
                  <a:pt x="4026511" y="798468"/>
                </a:lnTo>
                <a:lnTo>
                  <a:pt x="4078713" y="746211"/>
                </a:lnTo>
                <a:lnTo>
                  <a:pt x="4130321" y="797927"/>
                </a:lnTo>
                <a:lnTo>
                  <a:pt x="4182037" y="746211"/>
                </a:lnTo>
                <a:close/>
                <a:moveTo>
                  <a:pt x="0" y="0"/>
                </a:moveTo>
                <a:lnTo>
                  <a:pt x="6007100" y="0"/>
                </a:lnTo>
                <a:lnTo>
                  <a:pt x="60071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accent4"/>
          </a:solidFill>
        </p:spPr>
        <p:txBody>
          <a:bodyPr wrap="square">
            <a:noAutofit/>
          </a:bodyPr>
          <a:lstStyle/>
          <a:p>
            <a:r>
              <a:rPr lang="en-US"/>
              <a:t>Click to insert picture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A597281-ABB7-066F-7A10-EF9E1776C1D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39750" y="540001"/>
            <a:ext cx="5465999" cy="387798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ease insert a Headlin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BABAA35-1304-A3EC-A9C3-854E14C4664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Al-Futtaim Template 2025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2D61B8B-D6CA-BCE6-71B4-5C8A439C247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3109594-1B45-46DB-8A0B-416F125317D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7B82DAD-1AFC-2023-BB91-5E7F5BD2C6D0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9A49B11-BA62-4804-9B09-4719E44E4B1C}" type="datetime1">
              <a:rPr lang="en-US" smtClean="0"/>
              <a:t>21/08/2025</a:t>
            </a:fld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8B4C8F2A-2924-AB97-B224-E2E3A1F3CEA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39751" y="927799"/>
            <a:ext cx="5465688" cy="388937"/>
          </a:xfrm>
        </p:spPr>
        <p:txBody>
          <a:bodyPr>
            <a:noAutofit/>
          </a:bodyPr>
          <a:lstStyle>
            <a:lvl1pPr>
              <a:defRPr sz="28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Please insert a </a:t>
            </a:r>
            <a:r>
              <a:rPr lang="en-US" dirty="0" err="1"/>
              <a:t>Subheadline</a:t>
            </a:r>
            <a:endParaRPr lang="en-US" dirty="0"/>
          </a:p>
        </p:txBody>
      </p:sp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6CFB16CB-922F-1EB5-FF04-BBE2E08EDD8E}"/>
              </a:ext>
            </a:extLst>
          </p:cNvPr>
          <p:cNvSpPr>
            <a:spLocks noGrp="1"/>
          </p:cNvSpPr>
          <p:nvPr userDrawn="1">
            <p:ph sz="quarter" idx="14" hasCustomPrompt="1"/>
          </p:nvPr>
        </p:nvSpPr>
        <p:spPr>
          <a:xfrm>
            <a:off x="540001" y="1618720"/>
            <a:ext cx="5465999" cy="4426480"/>
          </a:xfrm>
        </p:spPr>
        <p:txBody>
          <a:bodyPr>
            <a:noAutofit/>
          </a:bodyPr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Please insert content</a:t>
            </a:r>
          </a:p>
        </p:txBody>
      </p:sp>
    </p:spTree>
    <p:extLst>
      <p:ext uri="{BB962C8B-B14F-4D97-AF65-F5344CB8AC3E}">
        <p14:creationId xmlns:p14="http://schemas.microsoft.com/office/powerpoint/2010/main" val="181386251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83" userDrawn="1">
          <p15:clr>
            <a:srgbClr val="FBAE40"/>
          </p15:clr>
        </p15:guide>
        <p15:guide id="2" pos="3896" userDrawn="1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plit Content image_light_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" name="Group 14">
            <a:extLst>
              <a:ext uri="{FF2B5EF4-FFF2-40B4-BE49-F238E27FC236}">
                <a16:creationId xmlns:a16="http://schemas.microsoft.com/office/drawing/2014/main" id="{82E22475-5AA0-F2C0-0102-83ECDF348C1B}"/>
              </a:ext>
            </a:extLst>
          </p:cNvPr>
          <p:cNvGrpSpPr/>
          <p:nvPr userDrawn="1"/>
        </p:nvGrpSpPr>
        <p:grpSpPr>
          <a:xfrm>
            <a:off x="9951588" y="538699"/>
            <a:ext cx="1704301" cy="363146"/>
            <a:chOff x="9951588" y="538699"/>
            <a:chExt cx="1704301" cy="363146"/>
          </a:xfrm>
          <a:solidFill>
            <a:schemeClr val="bg1"/>
          </a:solidFill>
        </p:grpSpPr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98DF0A99-91B5-7C8B-95D4-7A1C654B58C5}"/>
                </a:ext>
              </a:extLst>
            </p:cNvPr>
            <p:cNvSpPr/>
            <p:nvPr/>
          </p:nvSpPr>
          <p:spPr>
            <a:xfrm>
              <a:off x="10470746" y="642617"/>
              <a:ext cx="1185143" cy="207458"/>
            </a:xfrm>
            <a:custGeom>
              <a:avLst/>
              <a:gdLst>
                <a:gd name="connsiteX0" fmla="*/ 259606 w 1185143"/>
                <a:gd name="connsiteY0" fmla="*/ 138234 h 207458"/>
                <a:gd name="connsiteX1" fmla="*/ 311539 w 1185143"/>
                <a:gd name="connsiteY1" fmla="*/ 138234 h 207458"/>
                <a:gd name="connsiteX2" fmla="*/ 311539 w 1185143"/>
                <a:gd name="connsiteY2" fmla="*/ 103486 h 207458"/>
                <a:gd name="connsiteX3" fmla="*/ 259606 w 1185143"/>
                <a:gd name="connsiteY3" fmla="*/ 103486 h 207458"/>
                <a:gd name="connsiteX4" fmla="*/ 259606 w 1185143"/>
                <a:gd name="connsiteY4" fmla="*/ 138234 h 207458"/>
                <a:gd name="connsiteX5" fmla="*/ 787196 w 1185143"/>
                <a:gd name="connsiteY5" fmla="*/ 103756 h 207458"/>
                <a:gd name="connsiteX6" fmla="*/ 821943 w 1185143"/>
                <a:gd name="connsiteY6" fmla="*/ 103756 h 207458"/>
                <a:gd name="connsiteX7" fmla="*/ 821943 w 1185143"/>
                <a:gd name="connsiteY7" fmla="*/ 172981 h 207458"/>
                <a:gd name="connsiteX8" fmla="*/ 787196 w 1185143"/>
                <a:gd name="connsiteY8" fmla="*/ 172981 h 207458"/>
                <a:gd name="connsiteX9" fmla="*/ 787196 w 1185143"/>
                <a:gd name="connsiteY9" fmla="*/ 103756 h 207458"/>
                <a:gd name="connsiteX10" fmla="*/ 752718 w 1185143"/>
                <a:gd name="connsiteY10" fmla="*/ 69225 h 207458"/>
                <a:gd name="connsiteX11" fmla="*/ 735318 w 1185143"/>
                <a:gd name="connsiteY11" fmla="*/ 103756 h 207458"/>
                <a:gd name="connsiteX12" fmla="*/ 735318 w 1185143"/>
                <a:gd name="connsiteY12" fmla="*/ 172981 h 207458"/>
                <a:gd name="connsiteX13" fmla="*/ 752718 w 1185143"/>
                <a:gd name="connsiteY13" fmla="*/ 207458 h 207458"/>
                <a:gd name="connsiteX14" fmla="*/ 873821 w 1185143"/>
                <a:gd name="connsiteY14" fmla="*/ 207458 h 207458"/>
                <a:gd name="connsiteX15" fmla="*/ 873821 w 1185143"/>
                <a:gd name="connsiteY15" fmla="*/ 69225 h 207458"/>
                <a:gd name="connsiteX16" fmla="*/ 752718 w 1185143"/>
                <a:gd name="connsiteY16" fmla="*/ 69225 h 207458"/>
                <a:gd name="connsiteX17" fmla="*/ 977577 w 1185143"/>
                <a:gd name="connsiteY17" fmla="*/ 69225 h 207458"/>
                <a:gd name="connsiteX18" fmla="*/ 977577 w 1185143"/>
                <a:gd name="connsiteY18" fmla="*/ 207458 h 207458"/>
                <a:gd name="connsiteX19" fmla="*/ 1029455 w 1185143"/>
                <a:gd name="connsiteY19" fmla="*/ 207458 h 207458"/>
                <a:gd name="connsiteX20" fmla="*/ 1029455 w 1185143"/>
                <a:gd name="connsiteY20" fmla="*/ 103756 h 207458"/>
                <a:gd name="connsiteX21" fmla="*/ 1055394 w 1185143"/>
                <a:gd name="connsiteY21" fmla="*/ 103756 h 207458"/>
                <a:gd name="connsiteX22" fmla="*/ 1055394 w 1185143"/>
                <a:gd name="connsiteY22" fmla="*/ 207458 h 207458"/>
                <a:gd name="connsiteX23" fmla="*/ 1107273 w 1185143"/>
                <a:gd name="connsiteY23" fmla="*/ 207458 h 207458"/>
                <a:gd name="connsiteX24" fmla="*/ 1107273 w 1185143"/>
                <a:gd name="connsiteY24" fmla="*/ 103756 h 207458"/>
                <a:gd name="connsiteX25" fmla="*/ 1133266 w 1185143"/>
                <a:gd name="connsiteY25" fmla="*/ 103756 h 207458"/>
                <a:gd name="connsiteX26" fmla="*/ 1133266 w 1185143"/>
                <a:gd name="connsiteY26" fmla="*/ 207458 h 207458"/>
                <a:gd name="connsiteX27" fmla="*/ 1185144 w 1185143"/>
                <a:gd name="connsiteY27" fmla="*/ 207458 h 207458"/>
                <a:gd name="connsiteX28" fmla="*/ 1185144 w 1185143"/>
                <a:gd name="connsiteY28" fmla="*/ 103756 h 207458"/>
                <a:gd name="connsiteX29" fmla="*/ 1168013 w 1185143"/>
                <a:gd name="connsiteY29" fmla="*/ 69225 h 207458"/>
                <a:gd name="connsiteX30" fmla="*/ 977631 w 1185143"/>
                <a:gd name="connsiteY30" fmla="*/ 69225 h 207458"/>
                <a:gd name="connsiteX31" fmla="*/ 899760 w 1185143"/>
                <a:gd name="connsiteY31" fmla="*/ 207458 h 207458"/>
                <a:gd name="connsiteX32" fmla="*/ 951692 w 1185143"/>
                <a:gd name="connsiteY32" fmla="*/ 207458 h 207458"/>
                <a:gd name="connsiteX33" fmla="*/ 951692 w 1185143"/>
                <a:gd name="connsiteY33" fmla="*/ 69225 h 207458"/>
                <a:gd name="connsiteX34" fmla="*/ 899760 w 1185143"/>
                <a:gd name="connsiteY34" fmla="*/ 69009 h 207458"/>
                <a:gd name="connsiteX35" fmla="*/ 899760 w 1185143"/>
                <a:gd name="connsiteY35" fmla="*/ 207458 h 207458"/>
                <a:gd name="connsiteX36" fmla="*/ 112565 w 1185143"/>
                <a:gd name="connsiteY36" fmla="*/ 34477 h 207458"/>
                <a:gd name="connsiteX37" fmla="*/ 112565 w 1185143"/>
                <a:gd name="connsiteY37" fmla="*/ 103756 h 207458"/>
                <a:gd name="connsiteX38" fmla="*/ 86355 w 1185143"/>
                <a:gd name="connsiteY38" fmla="*/ 103756 h 207458"/>
                <a:gd name="connsiteX39" fmla="*/ 112565 w 1185143"/>
                <a:gd name="connsiteY39" fmla="*/ 34477 h 207458"/>
                <a:gd name="connsiteX40" fmla="*/ 69225 w 1185143"/>
                <a:gd name="connsiteY40" fmla="*/ 0 h 207458"/>
                <a:gd name="connsiteX41" fmla="*/ 0 w 1185143"/>
                <a:gd name="connsiteY41" fmla="*/ 207458 h 207458"/>
                <a:gd name="connsiteX42" fmla="*/ 51878 w 1185143"/>
                <a:gd name="connsiteY42" fmla="*/ 207458 h 207458"/>
                <a:gd name="connsiteX43" fmla="*/ 77817 w 1185143"/>
                <a:gd name="connsiteY43" fmla="*/ 138450 h 207458"/>
                <a:gd name="connsiteX44" fmla="*/ 112565 w 1185143"/>
                <a:gd name="connsiteY44" fmla="*/ 138450 h 207458"/>
                <a:gd name="connsiteX45" fmla="*/ 112565 w 1185143"/>
                <a:gd name="connsiteY45" fmla="*/ 207458 h 207458"/>
                <a:gd name="connsiteX46" fmla="*/ 164443 w 1185143"/>
                <a:gd name="connsiteY46" fmla="*/ 207458 h 207458"/>
                <a:gd name="connsiteX47" fmla="*/ 164443 w 1185143"/>
                <a:gd name="connsiteY47" fmla="*/ 0 h 207458"/>
                <a:gd name="connsiteX48" fmla="*/ 69225 w 1185143"/>
                <a:gd name="connsiteY48" fmla="*/ 0 h 207458"/>
                <a:gd name="connsiteX49" fmla="*/ 190328 w 1185143"/>
                <a:gd name="connsiteY49" fmla="*/ 207458 h 207458"/>
                <a:gd name="connsiteX50" fmla="*/ 242206 w 1185143"/>
                <a:gd name="connsiteY50" fmla="*/ 207458 h 207458"/>
                <a:gd name="connsiteX51" fmla="*/ 242206 w 1185143"/>
                <a:gd name="connsiteY51" fmla="*/ 0 h 207458"/>
                <a:gd name="connsiteX52" fmla="*/ 190328 w 1185143"/>
                <a:gd name="connsiteY52" fmla="*/ 0 h 207458"/>
                <a:gd name="connsiteX53" fmla="*/ 190328 w 1185143"/>
                <a:gd name="connsiteY53" fmla="*/ 207458 h 207458"/>
                <a:gd name="connsiteX54" fmla="*/ 328615 w 1185143"/>
                <a:gd name="connsiteY54" fmla="*/ 0 h 207458"/>
                <a:gd name="connsiteX55" fmla="*/ 328615 w 1185143"/>
                <a:gd name="connsiteY55" fmla="*/ 207458 h 207458"/>
                <a:gd name="connsiteX56" fmla="*/ 380493 w 1185143"/>
                <a:gd name="connsiteY56" fmla="*/ 207458 h 207458"/>
                <a:gd name="connsiteX57" fmla="*/ 380493 w 1185143"/>
                <a:gd name="connsiteY57" fmla="*/ 103756 h 207458"/>
                <a:gd name="connsiteX58" fmla="*/ 415295 w 1185143"/>
                <a:gd name="connsiteY58" fmla="*/ 103756 h 207458"/>
                <a:gd name="connsiteX59" fmla="*/ 415295 w 1185143"/>
                <a:gd name="connsiteY59" fmla="*/ 172981 h 207458"/>
                <a:gd name="connsiteX60" fmla="*/ 432641 w 1185143"/>
                <a:gd name="connsiteY60" fmla="*/ 207458 h 207458"/>
                <a:gd name="connsiteX61" fmla="*/ 553798 w 1185143"/>
                <a:gd name="connsiteY61" fmla="*/ 207458 h 207458"/>
                <a:gd name="connsiteX62" fmla="*/ 553798 w 1185143"/>
                <a:gd name="connsiteY62" fmla="*/ 103756 h 207458"/>
                <a:gd name="connsiteX63" fmla="*/ 579737 w 1185143"/>
                <a:gd name="connsiteY63" fmla="*/ 103756 h 207458"/>
                <a:gd name="connsiteX64" fmla="*/ 579737 w 1185143"/>
                <a:gd name="connsiteY64" fmla="*/ 207458 h 207458"/>
                <a:gd name="connsiteX65" fmla="*/ 631561 w 1185143"/>
                <a:gd name="connsiteY65" fmla="*/ 207458 h 207458"/>
                <a:gd name="connsiteX66" fmla="*/ 631561 w 1185143"/>
                <a:gd name="connsiteY66" fmla="*/ 103756 h 207458"/>
                <a:gd name="connsiteX67" fmla="*/ 657555 w 1185143"/>
                <a:gd name="connsiteY67" fmla="*/ 103756 h 207458"/>
                <a:gd name="connsiteX68" fmla="*/ 657555 w 1185143"/>
                <a:gd name="connsiteY68" fmla="*/ 207458 h 207458"/>
                <a:gd name="connsiteX69" fmla="*/ 709433 w 1185143"/>
                <a:gd name="connsiteY69" fmla="*/ 207458 h 207458"/>
                <a:gd name="connsiteX70" fmla="*/ 709433 w 1185143"/>
                <a:gd name="connsiteY70" fmla="*/ 103756 h 207458"/>
                <a:gd name="connsiteX71" fmla="*/ 735372 w 1185143"/>
                <a:gd name="connsiteY71" fmla="*/ 103756 h 207458"/>
                <a:gd name="connsiteX72" fmla="*/ 735372 w 1185143"/>
                <a:gd name="connsiteY72" fmla="*/ 69225 h 207458"/>
                <a:gd name="connsiteX73" fmla="*/ 709433 w 1185143"/>
                <a:gd name="connsiteY73" fmla="*/ 69225 h 207458"/>
                <a:gd name="connsiteX74" fmla="*/ 709433 w 1185143"/>
                <a:gd name="connsiteY74" fmla="*/ 34477 h 207458"/>
                <a:gd name="connsiteX75" fmla="*/ 657555 w 1185143"/>
                <a:gd name="connsiteY75" fmla="*/ 34477 h 207458"/>
                <a:gd name="connsiteX76" fmla="*/ 657555 w 1185143"/>
                <a:gd name="connsiteY76" fmla="*/ 69225 h 207458"/>
                <a:gd name="connsiteX77" fmla="*/ 631561 w 1185143"/>
                <a:gd name="connsiteY77" fmla="*/ 69225 h 207458"/>
                <a:gd name="connsiteX78" fmla="*/ 631561 w 1185143"/>
                <a:gd name="connsiteY78" fmla="*/ 34477 h 207458"/>
                <a:gd name="connsiteX79" fmla="*/ 579737 w 1185143"/>
                <a:gd name="connsiteY79" fmla="*/ 34477 h 207458"/>
                <a:gd name="connsiteX80" fmla="*/ 579737 w 1185143"/>
                <a:gd name="connsiteY80" fmla="*/ 69225 h 207458"/>
                <a:gd name="connsiteX81" fmla="*/ 501650 w 1185143"/>
                <a:gd name="connsiteY81" fmla="*/ 69225 h 207458"/>
                <a:gd name="connsiteX82" fmla="*/ 501650 w 1185143"/>
                <a:gd name="connsiteY82" fmla="*/ 172927 h 207458"/>
                <a:gd name="connsiteX83" fmla="*/ 467173 w 1185143"/>
                <a:gd name="connsiteY83" fmla="*/ 172927 h 207458"/>
                <a:gd name="connsiteX84" fmla="*/ 467173 w 1185143"/>
                <a:gd name="connsiteY84" fmla="*/ 69225 h 207458"/>
                <a:gd name="connsiteX85" fmla="*/ 380547 w 1185143"/>
                <a:gd name="connsiteY85" fmla="*/ 69225 h 207458"/>
                <a:gd name="connsiteX86" fmla="*/ 380547 w 1185143"/>
                <a:gd name="connsiteY86" fmla="*/ 34477 h 207458"/>
                <a:gd name="connsiteX87" fmla="*/ 467173 w 1185143"/>
                <a:gd name="connsiteY87" fmla="*/ 34477 h 207458"/>
                <a:gd name="connsiteX88" fmla="*/ 467173 w 1185143"/>
                <a:gd name="connsiteY88" fmla="*/ 0 h 207458"/>
                <a:gd name="connsiteX89" fmla="*/ 328669 w 1185143"/>
                <a:gd name="connsiteY89" fmla="*/ 0 h 207458"/>
                <a:gd name="connsiteX90" fmla="*/ 899760 w 1185143"/>
                <a:gd name="connsiteY90" fmla="*/ 34477 h 207458"/>
                <a:gd name="connsiteX91" fmla="*/ 951692 w 1185143"/>
                <a:gd name="connsiteY91" fmla="*/ 34477 h 207458"/>
                <a:gd name="connsiteX92" fmla="*/ 951692 w 1185143"/>
                <a:gd name="connsiteY92" fmla="*/ 0 h 207458"/>
                <a:gd name="connsiteX93" fmla="*/ 899760 w 1185143"/>
                <a:gd name="connsiteY93" fmla="*/ 0 h 207458"/>
                <a:gd name="connsiteX94" fmla="*/ 899760 w 1185143"/>
                <a:gd name="connsiteY94" fmla="*/ 34477 h 2074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</a:cxnLst>
              <a:rect l="l" t="t" r="r" b="b"/>
              <a:pathLst>
                <a:path w="1185143" h="207458">
                  <a:moveTo>
                    <a:pt x="259606" y="138234"/>
                  </a:moveTo>
                  <a:lnTo>
                    <a:pt x="311539" y="138234"/>
                  </a:lnTo>
                  <a:lnTo>
                    <a:pt x="311539" y="103486"/>
                  </a:lnTo>
                  <a:lnTo>
                    <a:pt x="259606" y="103486"/>
                  </a:lnTo>
                  <a:lnTo>
                    <a:pt x="259606" y="138234"/>
                  </a:lnTo>
                  <a:close/>
                  <a:moveTo>
                    <a:pt x="787196" y="103756"/>
                  </a:moveTo>
                  <a:lnTo>
                    <a:pt x="821943" y="103756"/>
                  </a:lnTo>
                  <a:lnTo>
                    <a:pt x="821943" y="172981"/>
                  </a:lnTo>
                  <a:lnTo>
                    <a:pt x="787196" y="172981"/>
                  </a:lnTo>
                  <a:lnTo>
                    <a:pt x="787196" y="103756"/>
                  </a:lnTo>
                  <a:close/>
                  <a:moveTo>
                    <a:pt x="752718" y="69225"/>
                  </a:moveTo>
                  <a:lnTo>
                    <a:pt x="735318" y="103756"/>
                  </a:lnTo>
                  <a:lnTo>
                    <a:pt x="735318" y="172981"/>
                  </a:lnTo>
                  <a:lnTo>
                    <a:pt x="752718" y="207458"/>
                  </a:lnTo>
                  <a:lnTo>
                    <a:pt x="873821" y="207458"/>
                  </a:lnTo>
                  <a:lnTo>
                    <a:pt x="873821" y="69225"/>
                  </a:lnTo>
                  <a:lnTo>
                    <a:pt x="752718" y="69225"/>
                  </a:lnTo>
                  <a:close/>
                  <a:moveTo>
                    <a:pt x="977577" y="69225"/>
                  </a:moveTo>
                  <a:lnTo>
                    <a:pt x="977577" y="207458"/>
                  </a:lnTo>
                  <a:lnTo>
                    <a:pt x="1029455" y="207458"/>
                  </a:lnTo>
                  <a:lnTo>
                    <a:pt x="1029455" y="103756"/>
                  </a:lnTo>
                  <a:lnTo>
                    <a:pt x="1055394" y="103756"/>
                  </a:lnTo>
                  <a:lnTo>
                    <a:pt x="1055394" y="207458"/>
                  </a:lnTo>
                  <a:lnTo>
                    <a:pt x="1107273" y="207458"/>
                  </a:lnTo>
                  <a:lnTo>
                    <a:pt x="1107273" y="103756"/>
                  </a:lnTo>
                  <a:lnTo>
                    <a:pt x="1133266" y="103756"/>
                  </a:lnTo>
                  <a:lnTo>
                    <a:pt x="1133266" y="207458"/>
                  </a:lnTo>
                  <a:lnTo>
                    <a:pt x="1185144" y="207458"/>
                  </a:lnTo>
                  <a:lnTo>
                    <a:pt x="1185144" y="103756"/>
                  </a:lnTo>
                  <a:lnTo>
                    <a:pt x="1168013" y="69225"/>
                  </a:lnTo>
                  <a:lnTo>
                    <a:pt x="977631" y="69225"/>
                  </a:lnTo>
                  <a:close/>
                  <a:moveTo>
                    <a:pt x="899760" y="207458"/>
                  </a:moveTo>
                  <a:lnTo>
                    <a:pt x="951692" y="207458"/>
                  </a:lnTo>
                  <a:lnTo>
                    <a:pt x="951692" y="69225"/>
                  </a:lnTo>
                  <a:lnTo>
                    <a:pt x="899760" y="69009"/>
                  </a:lnTo>
                  <a:lnTo>
                    <a:pt x="899760" y="207458"/>
                  </a:lnTo>
                  <a:close/>
                  <a:moveTo>
                    <a:pt x="112565" y="34477"/>
                  </a:moveTo>
                  <a:lnTo>
                    <a:pt x="112565" y="103756"/>
                  </a:lnTo>
                  <a:lnTo>
                    <a:pt x="86355" y="103756"/>
                  </a:lnTo>
                  <a:lnTo>
                    <a:pt x="112565" y="34477"/>
                  </a:lnTo>
                  <a:close/>
                  <a:moveTo>
                    <a:pt x="69225" y="0"/>
                  </a:moveTo>
                  <a:lnTo>
                    <a:pt x="0" y="207458"/>
                  </a:lnTo>
                  <a:lnTo>
                    <a:pt x="51878" y="207458"/>
                  </a:lnTo>
                  <a:lnTo>
                    <a:pt x="77817" y="138450"/>
                  </a:lnTo>
                  <a:lnTo>
                    <a:pt x="112565" y="138450"/>
                  </a:lnTo>
                  <a:lnTo>
                    <a:pt x="112565" y="207458"/>
                  </a:lnTo>
                  <a:lnTo>
                    <a:pt x="164443" y="207458"/>
                  </a:lnTo>
                  <a:lnTo>
                    <a:pt x="164443" y="0"/>
                  </a:lnTo>
                  <a:lnTo>
                    <a:pt x="69225" y="0"/>
                  </a:lnTo>
                  <a:close/>
                  <a:moveTo>
                    <a:pt x="190328" y="207458"/>
                  </a:moveTo>
                  <a:lnTo>
                    <a:pt x="242206" y="207458"/>
                  </a:lnTo>
                  <a:lnTo>
                    <a:pt x="242206" y="0"/>
                  </a:lnTo>
                  <a:lnTo>
                    <a:pt x="190328" y="0"/>
                  </a:lnTo>
                  <a:lnTo>
                    <a:pt x="190328" y="207458"/>
                  </a:lnTo>
                  <a:close/>
                  <a:moveTo>
                    <a:pt x="328615" y="0"/>
                  </a:moveTo>
                  <a:lnTo>
                    <a:pt x="328615" y="207458"/>
                  </a:lnTo>
                  <a:lnTo>
                    <a:pt x="380493" y="207458"/>
                  </a:lnTo>
                  <a:lnTo>
                    <a:pt x="380493" y="103756"/>
                  </a:lnTo>
                  <a:lnTo>
                    <a:pt x="415295" y="103756"/>
                  </a:lnTo>
                  <a:lnTo>
                    <a:pt x="415295" y="172981"/>
                  </a:lnTo>
                  <a:lnTo>
                    <a:pt x="432641" y="207458"/>
                  </a:lnTo>
                  <a:lnTo>
                    <a:pt x="553798" y="207458"/>
                  </a:lnTo>
                  <a:lnTo>
                    <a:pt x="553798" y="103756"/>
                  </a:lnTo>
                  <a:lnTo>
                    <a:pt x="579737" y="103756"/>
                  </a:lnTo>
                  <a:lnTo>
                    <a:pt x="579737" y="207458"/>
                  </a:lnTo>
                  <a:lnTo>
                    <a:pt x="631561" y="207458"/>
                  </a:lnTo>
                  <a:lnTo>
                    <a:pt x="631561" y="103756"/>
                  </a:lnTo>
                  <a:lnTo>
                    <a:pt x="657555" y="103756"/>
                  </a:lnTo>
                  <a:lnTo>
                    <a:pt x="657555" y="207458"/>
                  </a:lnTo>
                  <a:lnTo>
                    <a:pt x="709433" y="207458"/>
                  </a:lnTo>
                  <a:lnTo>
                    <a:pt x="709433" y="103756"/>
                  </a:lnTo>
                  <a:lnTo>
                    <a:pt x="735372" y="103756"/>
                  </a:lnTo>
                  <a:lnTo>
                    <a:pt x="735372" y="69225"/>
                  </a:lnTo>
                  <a:lnTo>
                    <a:pt x="709433" y="69225"/>
                  </a:lnTo>
                  <a:lnTo>
                    <a:pt x="709433" y="34477"/>
                  </a:lnTo>
                  <a:lnTo>
                    <a:pt x="657555" y="34477"/>
                  </a:lnTo>
                  <a:lnTo>
                    <a:pt x="657555" y="69225"/>
                  </a:lnTo>
                  <a:lnTo>
                    <a:pt x="631561" y="69225"/>
                  </a:lnTo>
                  <a:lnTo>
                    <a:pt x="631561" y="34477"/>
                  </a:lnTo>
                  <a:lnTo>
                    <a:pt x="579737" y="34477"/>
                  </a:lnTo>
                  <a:lnTo>
                    <a:pt x="579737" y="69225"/>
                  </a:lnTo>
                  <a:lnTo>
                    <a:pt x="501650" y="69225"/>
                  </a:lnTo>
                  <a:lnTo>
                    <a:pt x="501650" y="172927"/>
                  </a:lnTo>
                  <a:lnTo>
                    <a:pt x="467173" y="172927"/>
                  </a:lnTo>
                  <a:lnTo>
                    <a:pt x="467173" y="69225"/>
                  </a:lnTo>
                  <a:lnTo>
                    <a:pt x="380547" y="69225"/>
                  </a:lnTo>
                  <a:lnTo>
                    <a:pt x="380547" y="34477"/>
                  </a:lnTo>
                  <a:lnTo>
                    <a:pt x="467173" y="34477"/>
                  </a:lnTo>
                  <a:lnTo>
                    <a:pt x="467173" y="0"/>
                  </a:lnTo>
                  <a:lnTo>
                    <a:pt x="328669" y="0"/>
                  </a:lnTo>
                  <a:close/>
                  <a:moveTo>
                    <a:pt x="899760" y="34477"/>
                  </a:moveTo>
                  <a:lnTo>
                    <a:pt x="951692" y="34477"/>
                  </a:lnTo>
                  <a:lnTo>
                    <a:pt x="951692" y="0"/>
                  </a:lnTo>
                  <a:lnTo>
                    <a:pt x="899760" y="0"/>
                  </a:lnTo>
                  <a:lnTo>
                    <a:pt x="899760" y="34477"/>
                  </a:lnTo>
                  <a:close/>
                </a:path>
              </a:pathLst>
            </a:custGeom>
            <a:grpFill/>
            <a:ln w="538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18B7952A-89C0-D564-994E-FA9124E6506C}"/>
                </a:ext>
              </a:extLst>
            </p:cNvPr>
            <p:cNvSpPr/>
            <p:nvPr/>
          </p:nvSpPr>
          <p:spPr>
            <a:xfrm>
              <a:off x="9951588" y="538699"/>
              <a:ext cx="415348" cy="363146"/>
            </a:xfrm>
            <a:custGeom>
              <a:avLst/>
              <a:gdLst>
                <a:gd name="connsiteX0" fmla="*/ 156175 w 415348"/>
                <a:gd name="connsiteY0" fmla="*/ 155526 h 363146"/>
                <a:gd name="connsiteX1" fmla="*/ 207782 w 415348"/>
                <a:gd name="connsiteY1" fmla="*/ 103864 h 363146"/>
                <a:gd name="connsiteX2" fmla="*/ 259390 w 415348"/>
                <a:gd name="connsiteY2" fmla="*/ 155526 h 363146"/>
                <a:gd name="connsiteX3" fmla="*/ 207782 w 415348"/>
                <a:gd name="connsiteY3" fmla="*/ 207296 h 363146"/>
                <a:gd name="connsiteX4" fmla="*/ 156175 w 415348"/>
                <a:gd name="connsiteY4" fmla="*/ 155526 h 363146"/>
                <a:gd name="connsiteX5" fmla="*/ 207782 w 415348"/>
                <a:gd name="connsiteY5" fmla="*/ 0 h 363146"/>
                <a:gd name="connsiteX6" fmla="*/ 0 w 415348"/>
                <a:gd name="connsiteY6" fmla="*/ 207350 h 363146"/>
                <a:gd name="connsiteX7" fmla="*/ 51986 w 415348"/>
                <a:gd name="connsiteY7" fmla="*/ 259228 h 363146"/>
                <a:gd name="connsiteX8" fmla="*/ 104134 w 415348"/>
                <a:gd name="connsiteY8" fmla="*/ 207512 h 363146"/>
                <a:gd name="connsiteX9" fmla="*/ 155904 w 415348"/>
                <a:gd name="connsiteY9" fmla="*/ 259499 h 363146"/>
                <a:gd name="connsiteX10" fmla="*/ 103810 w 415348"/>
                <a:gd name="connsiteY10" fmla="*/ 311593 h 363146"/>
                <a:gd name="connsiteX11" fmla="*/ 155904 w 415348"/>
                <a:gd name="connsiteY11" fmla="*/ 363147 h 363146"/>
                <a:gd name="connsiteX12" fmla="*/ 206810 w 415348"/>
                <a:gd name="connsiteY12" fmla="*/ 311431 h 363146"/>
                <a:gd name="connsiteX13" fmla="*/ 259823 w 415348"/>
                <a:gd name="connsiteY13" fmla="*/ 363147 h 363146"/>
                <a:gd name="connsiteX14" fmla="*/ 311485 w 415348"/>
                <a:gd name="connsiteY14" fmla="*/ 311431 h 363146"/>
                <a:gd name="connsiteX15" fmla="*/ 259823 w 415348"/>
                <a:gd name="connsiteY15" fmla="*/ 259769 h 363146"/>
                <a:gd name="connsiteX16" fmla="*/ 312025 w 415348"/>
                <a:gd name="connsiteY16" fmla="*/ 207512 h 363146"/>
                <a:gd name="connsiteX17" fmla="*/ 363633 w 415348"/>
                <a:gd name="connsiteY17" fmla="*/ 259228 h 363146"/>
                <a:gd name="connsiteX18" fmla="*/ 415349 w 415348"/>
                <a:gd name="connsiteY18" fmla="*/ 207512 h 363146"/>
                <a:gd name="connsiteX19" fmla="*/ 207782 w 415348"/>
                <a:gd name="connsiteY19" fmla="*/ 0 h 3631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415348" h="363146">
                  <a:moveTo>
                    <a:pt x="156175" y="155526"/>
                  </a:moveTo>
                  <a:lnTo>
                    <a:pt x="207782" y="103864"/>
                  </a:lnTo>
                  <a:lnTo>
                    <a:pt x="259390" y="155526"/>
                  </a:lnTo>
                  <a:lnTo>
                    <a:pt x="207782" y="207296"/>
                  </a:lnTo>
                  <a:lnTo>
                    <a:pt x="156175" y="155526"/>
                  </a:lnTo>
                  <a:close/>
                  <a:moveTo>
                    <a:pt x="207782" y="0"/>
                  </a:moveTo>
                  <a:lnTo>
                    <a:pt x="0" y="207350"/>
                  </a:lnTo>
                  <a:lnTo>
                    <a:pt x="51986" y="259228"/>
                  </a:lnTo>
                  <a:lnTo>
                    <a:pt x="104134" y="207512"/>
                  </a:lnTo>
                  <a:lnTo>
                    <a:pt x="155904" y="259499"/>
                  </a:lnTo>
                  <a:lnTo>
                    <a:pt x="103810" y="311593"/>
                  </a:lnTo>
                  <a:lnTo>
                    <a:pt x="155904" y="363147"/>
                  </a:lnTo>
                  <a:lnTo>
                    <a:pt x="206810" y="311431"/>
                  </a:lnTo>
                  <a:lnTo>
                    <a:pt x="259823" y="363147"/>
                  </a:lnTo>
                  <a:lnTo>
                    <a:pt x="311485" y="311431"/>
                  </a:lnTo>
                  <a:lnTo>
                    <a:pt x="259823" y="259769"/>
                  </a:lnTo>
                  <a:lnTo>
                    <a:pt x="312025" y="207512"/>
                  </a:lnTo>
                  <a:lnTo>
                    <a:pt x="363633" y="259228"/>
                  </a:lnTo>
                  <a:lnTo>
                    <a:pt x="415349" y="207512"/>
                  </a:lnTo>
                  <a:lnTo>
                    <a:pt x="207782" y="0"/>
                  </a:lnTo>
                  <a:close/>
                </a:path>
              </a:pathLst>
            </a:custGeom>
            <a:grpFill/>
            <a:ln w="538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12E37481-81B7-DAE5-9279-A2E3EA447BE6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184900" y="0"/>
            <a:ext cx="6007100" cy="6858000"/>
          </a:xfrm>
          <a:custGeom>
            <a:avLst/>
            <a:gdLst>
              <a:gd name="connsiteX0" fmla="*/ 5073042 w 6007100"/>
              <a:gd name="connsiteY0" fmla="*/ 746373 h 6858000"/>
              <a:gd name="connsiteX1" fmla="*/ 5107789 w 6007100"/>
              <a:gd name="connsiteY1" fmla="*/ 746373 h 6858000"/>
              <a:gd name="connsiteX2" fmla="*/ 5107789 w 6007100"/>
              <a:gd name="connsiteY2" fmla="*/ 815598 h 6858000"/>
              <a:gd name="connsiteX3" fmla="*/ 5073042 w 6007100"/>
              <a:gd name="connsiteY3" fmla="*/ 815598 h 6858000"/>
              <a:gd name="connsiteX4" fmla="*/ 5021218 w 6007100"/>
              <a:gd name="connsiteY4" fmla="*/ 746266 h 6858000"/>
              <a:gd name="connsiteX5" fmla="*/ 5021218 w 6007100"/>
              <a:gd name="connsiteY5" fmla="*/ 746373 h 6858000"/>
              <a:gd name="connsiteX6" fmla="*/ 5021164 w 6007100"/>
              <a:gd name="connsiteY6" fmla="*/ 746373 h 6858000"/>
              <a:gd name="connsiteX7" fmla="*/ 4545452 w 6007100"/>
              <a:gd name="connsiteY7" fmla="*/ 746103 h 6858000"/>
              <a:gd name="connsiteX8" fmla="*/ 4545452 w 6007100"/>
              <a:gd name="connsiteY8" fmla="*/ 780851 h 6858000"/>
              <a:gd name="connsiteX9" fmla="*/ 4597385 w 6007100"/>
              <a:gd name="connsiteY9" fmla="*/ 780851 h 6858000"/>
              <a:gd name="connsiteX10" fmla="*/ 4597385 w 6007100"/>
              <a:gd name="connsiteY10" fmla="*/ 746103 h 6858000"/>
              <a:gd name="connsiteX11" fmla="*/ 5263423 w 6007100"/>
              <a:gd name="connsiteY11" fmla="*/ 711842 h 6858000"/>
              <a:gd name="connsiteX12" fmla="*/ 5263423 w 6007100"/>
              <a:gd name="connsiteY12" fmla="*/ 850075 h 6858000"/>
              <a:gd name="connsiteX13" fmla="*/ 5315301 w 6007100"/>
              <a:gd name="connsiteY13" fmla="*/ 850075 h 6858000"/>
              <a:gd name="connsiteX14" fmla="*/ 5315301 w 6007100"/>
              <a:gd name="connsiteY14" fmla="*/ 746373 h 6858000"/>
              <a:gd name="connsiteX15" fmla="*/ 5341240 w 6007100"/>
              <a:gd name="connsiteY15" fmla="*/ 746373 h 6858000"/>
              <a:gd name="connsiteX16" fmla="*/ 5341240 w 6007100"/>
              <a:gd name="connsiteY16" fmla="*/ 850075 h 6858000"/>
              <a:gd name="connsiteX17" fmla="*/ 5393119 w 6007100"/>
              <a:gd name="connsiteY17" fmla="*/ 850075 h 6858000"/>
              <a:gd name="connsiteX18" fmla="*/ 5393119 w 6007100"/>
              <a:gd name="connsiteY18" fmla="*/ 746373 h 6858000"/>
              <a:gd name="connsiteX19" fmla="*/ 5419112 w 6007100"/>
              <a:gd name="connsiteY19" fmla="*/ 746373 h 6858000"/>
              <a:gd name="connsiteX20" fmla="*/ 5419112 w 6007100"/>
              <a:gd name="connsiteY20" fmla="*/ 850075 h 6858000"/>
              <a:gd name="connsiteX21" fmla="*/ 5470990 w 6007100"/>
              <a:gd name="connsiteY21" fmla="*/ 850075 h 6858000"/>
              <a:gd name="connsiteX22" fmla="*/ 5470990 w 6007100"/>
              <a:gd name="connsiteY22" fmla="*/ 746373 h 6858000"/>
              <a:gd name="connsiteX23" fmla="*/ 5453859 w 6007100"/>
              <a:gd name="connsiteY23" fmla="*/ 711842 h 6858000"/>
              <a:gd name="connsiteX24" fmla="*/ 5263477 w 6007100"/>
              <a:gd name="connsiteY24" fmla="*/ 711842 h 6858000"/>
              <a:gd name="connsiteX25" fmla="*/ 5185606 w 6007100"/>
              <a:gd name="connsiteY25" fmla="*/ 711626 h 6858000"/>
              <a:gd name="connsiteX26" fmla="*/ 5185606 w 6007100"/>
              <a:gd name="connsiteY26" fmla="*/ 850075 h 6858000"/>
              <a:gd name="connsiteX27" fmla="*/ 5237538 w 6007100"/>
              <a:gd name="connsiteY27" fmla="*/ 850075 h 6858000"/>
              <a:gd name="connsiteX28" fmla="*/ 5237538 w 6007100"/>
              <a:gd name="connsiteY28" fmla="*/ 711842 h 6858000"/>
              <a:gd name="connsiteX29" fmla="*/ 4398411 w 6007100"/>
              <a:gd name="connsiteY29" fmla="*/ 677094 h 6858000"/>
              <a:gd name="connsiteX30" fmla="*/ 4398411 w 6007100"/>
              <a:gd name="connsiteY30" fmla="*/ 746373 h 6858000"/>
              <a:gd name="connsiteX31" fmla="*/ 4372201 w 6007100"/>
              <a:gd name="connsiteY31" fmla="*/ 746373 h 6858000"/>
              <a:gd name="connsiteX32" fmla="*/ 5185606 w 6007100"/>
              <a:gd name="connsiteY32" fmla="*/ 642617 h 6858000"/>
              <a:gd name="connsiteX33" fmla="*/ 5185606 w 6007100"/>
              <a:gd name="connsiteY33" fmla="*/ 677094 h 6858000"/>
              <a:gd name="connsiteX34" fmla="*/ 5237538 w 6007100"/>
              <a:gd name="connsiteY34" fmla="*/ 677094 h 6858000"/>
              <a:gd name="connsiteX35" fmla="*/ 5237538 w 6007100"/>
              <a:gd name="connsiteY35" fmla="*/ 642617 h 6858000"/>
              <a:gd name="connsiteX36" fmla="*/ 4614461 w 6007100"/>
              <a:gd name="connsiteY36" fmla="*/ 642617 h 6858000"/>
              <a:gd name="connsiteX37" fmla="*/ 4614461 w 6007100"/>
              <a:gd name="connsiteY37" fmla="*/ 850075 h 6858000"/>
              <a:gd name="connsiteX38" fmla="*/ 4666339 w 6007100"/>
              <a:gd name="connsiteY38" fmla="*/ 850075 h 6858000"/>
              <a:gd name="connsiteX39" fmla="*/ 4666339 w 6007100"/>
              <a:gd name="connsiteY39" fmla="*/ 746373 h 6858000"/>
              <a:gd name="connsiteX40" fmla="*/ 4701141 w 6007100"/>
              <a:gd name="connsiteY40" fmla="*/ 746373 h 6858000"/>
              <a:gd name="connsiteX41" fmla="*/ 4701141 w 6007100"/>
              <a:gd name="connsiteY41" fmla="*/ 815598 h 6858000"/>
              <a:gd name="connsiteX42" fmla="*/ 4718487 w 6007100"/>
              <a:gd name="connsiteY42" fmla="*/ 850075 h 6858000"/>
              <a:gd name="connsiteX43" fmla="*/ 4839644 w 6007100"/>
              <a:gd name="connsiteY43" fmla="*/ 850075 h 6858000"/>
              <a:gd name="connsiteX44" fmla="*/ 4839644 w 6007100"/>
              <a:gd name="connsiteY44" fmla="*/ 746373 h 6858000"/>
              <a:gd name="connsiteX45" fmla="*/ 4865583 w 6007100"/>
              <a:gd name="connsiteY45" fmla="*/ 746373 h 6858000"/>
              <a:gd name="connsiteX46" fmla="*/ 4865583 w 6007100"/>
              <a:gd name="connsiteY46" fmla="*/ 850075 h 6858000"/>
              <a:gd name="connsiteX47" fmla="*/ 4917407 w 6007100"/>
              <a:gd name="connsiteY47" fmla="*/ 850075 h 6858000"/>
              <a:gd name="connsiteX48" fmla="*/ 4917407 w 6007100"/>
              <a:gd name="connsiteY48" fmla="*/ 746373 h 6858000"/>
              <a:gd name="connsiteX49" fmla="*/ 4943401 w 6007100"/>
              <a:gd name="connsiteY49" fmla="*/ 746373 h 6858000"/>
              <a:gd name="connsiteX50" fmla="*/ 4943401 w 6007100"/>
              <a:gd name="connsiteY50" fmla="*/ 850075 h 6858000"/>
              <a:gd name="connsiteX51" fmla="*/ 4995279 w 6007100"/>
              <a:gd name="connsiteY51" fmla="*/ 850075 h 6858000"/>
              <a:gd name="connsiteX52" fmla="*/ 4995279 w 6007100"/>
              <a:gd name="connsiteY52" fmla="*/ 746373 h 6858000"/>
              <a:gd name="connsiteX53" fmla="*/ 5021164 w 6007100"/>
              <a:gd name="connsiteY53" fmla="*/ 746373 h 6858000"/>
              <a:gd name="connsiteX54" fmla="*/ 5021164 w 6007100"/>
              <a:gd name="connsiteY54" fmla="*/ 815598 h 6858000"/>
              <a:gd name="connsiteX55" fmla="*/ 5038564 w 6007100"/>
              <a:gd name="connsiteY55" fmla="*/ 850075 h 6858000"/>
              <a:gd name="connsiteX56" fmla="*/ 5159667 w 6007100"/>
              <a:gd name="connsiteY56" fmla="*/ 850075 h 6858000"/>
              <a:gd name="connsiteX57" fmla="*/ 5159667 w 6007100"/>
              <a:gd name="connsiteY57" fmla="*/ 711842 h 6858000"/>
              <a:gd name="connsiteX58" fmla="*/ 5038564 w 6007100"/>
              <a:gd name="connsiteY58" fmla="*/ 711842 h 6858000"/>
              <a:gd name="connsiteX59" fmla="*/ 5021218 w 6007100"/>
              <a:gd name="connsiteY59" fmla="*/ 746266 h 6858000"/>
              <a:gd name="connsiteX60" fmla="*/ 5021218 w 6007100"/>
              <a:gd name="connsiteY60" fmla="*/ 711842 h 6858000"/>
              <a:gd name="connsiteX61" fmla="*/ 4995279 w 6007100"/>
              <a:gd name="connsiteY61" fmla="*/ 711842 h 6858000"/>
              <a:gd name="connsiteX62" fmla="*/ 4995279 w 6007100"/>
              <a:gd name="connsiteY62" fmla="*/ 677094 h 6858000"/>
              <a:gd name="connsiteX63" fmla="*/ 4943401 w 6007100"/>
              <a:gd name="connsiteY63" fmla="*/ 677094 h 6858000"/>
              <a:gd name="connsiteX64" fmla="*/ 4943401 w 6007100"/>
              <a:gd name="connsiteY64" fmla="*/ 711842 h 6858000"/>
              <a:gd name="connsiteX65" fmla="*/ 4917407 w 6007100"/>
              <a:gd name="connsiteY65" fmla="*/ 711842 h 6858000"/>
              <a:gd name="connsiteX66" fmla="*/ 4917407 w 6007100"/>
              <a:gd name="connsiteY66" fmla="*/ 677094 h 6858000"/>
              <a:gd name="connsiteX67" fmla="*/ 4865583 w 6007100"/>
              <a:gd name="connsiteY67" fmla="*/ 677094 h 6858000"/>
              <a:gd name="connsiteX68" fmla="*/ 4865583 w 6007100"/>
              <a:gd name="connsiteY68" fmla="*/ 711842 h 6858000"/>
              <a:gd name="connsiteX69" fmla="*/ 4787496 w 6007100"/>
              <a:gd name="connsiteY69" fmla="*/ 711842 h 6858000"/>
              <a:gd name="connsiteX70" fmla="*/ 4787496 w 6007100"/>
              <a:gd name="connsiteY70" fmla="*/ 815544 h 6858000"/>
              <a:gd name="connsiteX71" fmla="*/ 4753019 w 6007100"/>
              <a:gd name="connsiteY71" fmla="*/ 815544 h 6858000"/>
              <a:gd name="connsiteX72" fmla="*/ 4753019 w 6007100"/>
              <a:gd name="connsiteY72" fmla="*/ 711842 h 6858000"/>
              <a:gd name="connsiteX73" fmla="*/ 4666393 w 6007100"/>
              <a:gd name="connsiteY73" fmla="*/ 711842 h 6858000"/>
              <a:gd name="connsiteX74" fmla="*/ 4666393 w 6007100"/>
              <a:gd name="connsiteY74" fmla="*/ 677094 h 6858000"/>
              <a:gd name="connsiteX75" fmla="*/ 4753019 w 6007100"/>
              <a:gd name="connsiteY75" fmla="*/ 677094 h 6858000"/>
              <a:gd name="connsiteX76" fmla="*/ 4753019 w 6007100"/>
              <a:gd name="connsiteY76" fmla="*/ 642617 h 6858000"/>
              <a:gd name="connsiteX77" fmla="*/ 4614515 w 6007100"/>
              <a:gd name="connsiteY77" fmla="*/ 642617 h 6858000"/>
              <a:gd name="connsiteX78" fmla="*/ 4476174 w 6007100"/>
              <a:gd name="connsiteY78" fmla="*/ 642617 h 6858000"/>
              <a:gd name="connsiteX79" fmla="*/ 4476174 w 6007100"/>
              <a:gd name="connsiteY79" fmla="*/ 850075 h 6858000"/>
              <a:gd name="connsiteX80" fmla="*/ 4528052 w 6007100"/>
              <a:gd name="connsiteY80" fmla="*/ 850075 h 6858000"/>
              <a:gd name="connsiteX81" fmla="*/ 4528052 w 6007100"/>
              <a:gd name="connsiteY81" fmla="*/ 642617 h 6858000"/>
              <a:gd name="connsiteX82" fmla="*/ 4355071 w 6007100"/>
              <a:gd name="connsiteY82" fmla="*/ 642617 h 6858000"/>
              <a:gd name="connsiteX83" fmla="*/ 4285846 w 6007100"/>
              <a:gd name="connsiteY83" fmla="*/ 850075 h 6858000"/>
              <a:gd name="connsiteX84" fmla="*/ 4337724 w 6007100"/>
              <a:gd name="connsiteY84" fmla="*/ 850075 h 6858000"/>
              <a:gd name="connsiteX85" fmla="*/ 4363663 w 6007100"/>
              <a:gd name="connsiteY85" fmla="*/ 781067 h 6858000"/>
              <a:gd name="connsiteX86" fmla="*/ 4398411 w 6007100"/>
              <a:gd name="connsiteY86" fmla="*/ 781067 h 6858000"/>
              <a:gd name="connsiteX87" fmla="*/ 4398411 w 6007100"/>
              <a:gd name="connsiteY87" fmla="*/ 850075 h 6858000"/>
              <a:gd name="connsiteX88" fmla="*/ 4450289 w 6007100"/>
              <a:gd name="connsiteY88" fmla="*/ 850075 h 6858000"/>
              <a:gd name="connsiteX89" fmla="*/ 4450289 w 6007100"/>
              <a:gd name="connsiteY89" fmla="*/ 642617 h 6858000"/>
              <a:gd name="connsiteX90" fmla="*/ 3974470 w 6007100"/>
              <a:gd name="connsiteY90" fmla="*/ 642563 h 6858000"/>
              <a:gd name="connsiteX91" fmla="*/ 4026078 w 6007100"/>
              <a:gd name="connsiteY91" fmla="*/ 694225 h 6858000"/>
              <a:gd name="connsiteX92" fmla="*/ 3974470 w 6007100"/>
              <a:gd name="connsiteY92" fmla="*/ 745995 h 6858000"/>
              <a:gd name="connsiteX93" fmla="*/ 3922863 w 6007100"/>
              <a:gd name="connsiteY93" fmla="*/ 694225 h 6858000"/>
              <a:gd name="connsiteX94" fmla="*/ 3974470 w 6007100"/>
              <a:gd name="connsiteY94" fmla="*/ 538699 h 6858000"/>
              <a:gd name="connsiteX95" fmla="*/ 3766688 w 6007100"/>
              <a:gd name="connsiteY95" fmla="*/ 746049 h 6858000"/>
              <a:gd name="connsiteX96" fmla="*/ 3818674 w 6007100"/>
              <a:gd name="connsiteY96" fmla="*/ 797927 h 6858000"/>
              <a:gd name="connsiteX97" fmla="*/ 3870822 w 6007100"/>
              <a:gd name="connsiteY97" fmla="*/ 746211 h 6858000"/>
              <a:gd name="connsiteX98" fmla="*/ 3922592 w 6007100"/>
              <a:gd name="connsiteY98" fmla="*/ 798198 h 6858000"/>
              <a:gd name="connsiteX99" fmla="*/ 3870498 w 6007100"/>
              <a:gd name="connsiteY99" fmla="*/ 850292 h 6858000"/>
              <a:gd name="connsiteX100" fmla="*/ 3922592 w 6007100"/>
              <a:gd name="connsiteY100" fmla="*/ 901846 h 6858000"/>
              <a:gd name="connsiteX101" fmla="*/ 3973498 w 6007100"/>
              <a:gd name="connsiteY101" fmla="*/ 850130 h 6858000"/>
              <a:gd name="connsiteX102" fmla="*/ 4026511 w 6007100"/>
              <a:gd name="connsiteY102" fmla="*/ 901846 h 6858000"/>
              <a:gd name="connsiteX103" fmla="*/ 4078173 w 6007100"/>
              <a:gd name="connsiteY103" fmla="*/ 850130 h 6858000"/>
              <a:gd name="connsiteX104" fmla="*/ 4026511 w 6007100"/>
              <a:gd name="connsiteY104" fmla="*/ 798468 h 6858000"/>
              <a:gd name="connsiteX105" fmla="*/ 4078713 w 6007100"/>
              <a:gd name="connsiteY105" fmla="*/ 746211 h 6858000"/>
              <a:gd name="connsiteX106" fmla="*/ 4130321 w 6007100"/>
              <a:gd name="connsiteY106" fmla="*/ 797927 h 6858000"/>
              <a:gd name="connsiteX107" fmla="*/ 4182037 w 6007100"/>
              <a:gd name="connsiteY107" fmla="*/ 746211 h 6858000"/>
              <a:gd name="connsiteX108" fmla="*/ 0 w 6007100"/>
              <a:gd name="connsiteY108" fmla="*/ 0 h 6858000"/>
              <a:gd name="connsiteX109" fmla="*/ 6007100 w 6007100"/>
              <a:gd name="connsiteY109" fmla="*/ 0 h 6858000"/>
              <a:gd name="connsiteX110" fmla="*/ 6007100 w 6007100"/>
              <a:gd name="connsiteY110" fmla="*/ 6858000 h 6858000"/>
              <a:gd name="connsiteX111" fmla="*/ 0 w 6007100"/>
              <a:gd name="connsiteY111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</a:cxnLst>
            <a:rect l="l" t="t" r="r" b="b"/>
            <a:pathLst>
              <a:path w="6007100" h="6858000">
                <a:moveTo>
                  <a:pt x="5073042" y="746373"/>
                </a:moveTo>
                <a:lnTo>
                  <a:pt x="5107789" y="746373"/>
                </a:lnTo>
                <a:lnTo>
                  <a:pt x="5107789" y="815598"/>
                </a:lnTo>
                <a:lnTo>
                  <a:pt x="5073042" y="815598"/>
                </a:lnTo>
                <a:close/>
                <a:moveTo>
                  <a:pt x="5021218" y="746266"/>
                </a:moveTo>
                <a:lnTo>
                  <a:pt x="5021218" y="746373"/>
                </a:lnTo>
                <a:lnTo>
                  <a:pt x="5021164" y="746373"/>
                </a:lnTo>
                <a:close/>
                <a:moveTo>
                  <a:pt x="4545452" y="746103"/>
                </a:moveTo>
                <a:lnTo>
                  <a:pt x="4545452" y="780851"/>
                </a:lnTo>
                <a:lnTo>
                  <a:pt x="4597385" y="780851"/>
                </a:lnTo>
                <a:lnTo>
                  <a:pt x="4597385" y="746103"/>
                </a:lnTo>
                <a:close/>
                <a:moveTo>
                  <a:pt x="5263423" y="711842"/>
                </a:moveTo>
                <a:lnTo>
                  <a:pt x="5263423" y="850075"/>
                </a:lnTo>
                <a:lnTo>
                  <a:pt x="5315301" y="850075"/>
                </a:lnTo>
                <a:lnTo>
                  <a:pt x="5315301" y="746373"/>
                </a:lnTo>
                <a:lnTo>
                  <a:pt x="5341240" y="746373"/>
                </a:lnTo>
                <a:lnTo>
                  <a:pt x="5341240" y="850075"/>
                </a:lnTo>
                <a:lnTo>
                  <a:pt x="5393119" y="850075"/>
                </a:lnTo>
                <a:lnTo>
                  <a:pt x="5393119" y="746373"/>
                </a:lnTo>
                <a:lnTo>
                  <a:pt x="5419112" y="746373"/>
                </a:lnTo>
                <a:lnTo>
                  <a:pt x="5419112" y="850075"/>
                </a:lnTo>
                <a:lnTo>
                  <a:pt x="5470990" y="850075"/>
                </a:lnTo>
                <a:lnTo>
                  <a:pt x="5470990" y="746373"/>
                </a:lnTo>
                <a:lnTo>
                  <a:pt x="5453859" y="711842"/>
                </a:lnTo>
                <a:lnTo>
                  <a:pt x="5263477" y="711842"/>
                </a:lnTo>
                <a:close/>
                <a:moveTo>
                  <a:pt x="5185606" y="711626"/>
                </a:moveTo>
                <a:lnTo>
                  <a:pt x="5185606" y="850075"/>
                </a:lnTo>
                <a:lnTo>
                  <a:pt x="5237538" y="850075"/>
                </a:lnTo>
                <a:lnTo>
                  <a:pt x="5237538" y="711842"/>
                </a:lnTo>
                <a:close/>
                <a:moveTo>
                  <a:pt x="4398411" y="677094"/>
                </a:moveTo>
                <a:lnTo>
                  <a:pt x="4398411" y="746373"/>
                </a:lnTo>
                <a:lnTo>
                  <a:pt x="4372201" y="746373"/>
                </a:lnTo>
                <a:close/>
                <a:moveTo>
                  <a:pt x="5185606" y="642617"/>
                </a:moveTo>
                <a:lnTo>
                  <a:pt x="5185606" y="677094"/>
                </a:lnTo>
                <a:lnTo>
                  <a:pt x="5237538" y="677094"/>
                </a:lnTo>
                <a:lnTo>
                  <a:pt x="5237538" y="642617"/>
                </a:lnTo>
                <a:close/>
                <a:moveTo>
                  <a:pt x="4614461" y="642617"/>
                </a:moveTo>
                <a:lnTo>
                  <a:pt x="4614461" y="850075"/>
                </a:lnTo>
                <a:lnTo>
                  <a:pt x="4666339" y="850075"/>
                </a:lnTo>
                <a:lnTo>
                  <a:pt x="4666339" y="746373"/>
                </a:lnTo>
                <a:lnTo>
                  <a:pt x="4701141" y="746373"/>
                </a:lnTo>
                <a:lnTo>
                  <a:pt x="4701141" y="815598"/>
                </a:lnTo>
                <a:lnTo>
                  <a:pt x="4718487" y="850075"/>
                </a:lnTo>
                <a:lnTo>
                  <a:pt x="4839644" y="850075"/>
                </a:lnTo>
                <a:lnTo>
                  <a:pt x="4839644" y="746373"/>
                </a:lnTo>
                <a:lnTo>
                  <a:pt x="4865583" y="746373"/>
                </a:lnTo>
                <a:lnTo>
                  <a:pt x="4865583" y="850075"/>
                </a:lnTo>
                <a:lnTo>
                  <a:pt x="4917407" y="850075"/>
                </a:lnTo>
                <a:lnTo>
                  <a:pt x="4917407" y="746373"/>
                </a:lnTo>
                <a:lnTo>
                  <a:pt x="4943401" y="746373"/>
                </a:lnTo>
                <a:lnTo>
                  <a:pt x="4943401" y="850075"/>
                </a:lnTo>
                <a:lnTo>
                  <a:pt x="4995279" y="850075"/>
                </a:lnTo>
                <a:lnTo>
                  <a:pt x="4995279" y="746373"/>
                </a:lnTo>
                <a:lnTo>
                  <a:pt x="5021164" y="746373"/>
                </a:lnTo>
                <a:lnTo>
                  <a:pt x="5021164" y="815598"/>
                </a:lnTo>
                <a:lnTo>
                  <a:pt x="5038564" y="850075"/>
                </a:lnTo>
                <a:lnTo>
                  <a:pt x="5159667" y="850075"/>
                </a:lnTo>
                <a:lnTo>
                  <a:pt x="5159667" y="711842"/>
                </a:lnTo>
                <a:lnTo>
                  <a:pt x="5038564" y="711842"/>
                </a:lnTo>
                <a:lnTo>
                  <a:pt x="5021218" y="746266"/>
                </a:lnTo>
                <a:lnTo>
                  <a:pt x="5021218" y="711842"/>
                </a:lnTo>
                <a:lnTo>
                  <a:pt x="4995279" y="711842"/>
                </a:lnTo>
                <a:lnTo>
                  <a:pt x="4995279" y="677094"/>
                </a:lnTo>
                <a:lnTo>
                  <a:pt x="4943401" y="677094"/>
                </a:lnTo>
                <a:lnTo>
                  <a:pt x="4943401" y="711842"/>
                </a:lnTo>
                <a:lnTo>
                  <a:pt x="4917407" y="711842"/>
                </a:lnTo>
                <a:lnTo>
                  <a:pt x="4917407" y="677094"/>
                </a:lnTo>
                <a:lnTo>
                  <a:pt x="4865583" y="677094"/>
                </a:lnTo>
                <a:lnTo>
                  <a:pt x="4865583" y="711842"/>
                </a:lnTo>
                <a:lnTo>
                  <a:pt x="4787496" y="711842"/>
                </a:lnTo>
                <a:lnTo>
                  <a:pt x="4787496" y="815544"/>
                </a:lnTo>
                <a:lnTo>
                  <a:pt x="4753019" y="815544"/>
                </a:lnTo>
                <a:lnTo>
                  <a:pt x="4753019" y="711842"/>
                </a:lnTo>
                <a:lnTo>
                  <a:pt x="4666393" y="711842"/>
                </a:lnTo>
                <a:lnTo>
                  <a:pt x="4666393" y="677094"/>
                </a:lnTo>
                <a:lnTo>
                  <a:pt x="4753019" y="677094"/>
                </a:lnTo>
                <a:lnTo>
                  <a:pt x="4753019" y="642617"/>
                </a:lnTo>
                <a:lnTo>
                  <a:pt x="4614515" y="642617"/>
                </a:lnTo>
                <a:close/>
                <a:moveTo>
                  <a:pt x="4476174" y="642617"/>
                </a:moveTo>
                <a:lnTo>
                  <a:pt x="4476174" y="850075"/>
                </a:lnTo>
                <a:lnTo>
                  <a:pt x="4528052" y="850075"/>
                </a:lnTo>
                <a:lnTo>
                  <a:pt x="4528052" y="642617"/>
                </a:lnTo>
                <a:close/>
                <a:moveTo>
                  <a:pt x="4355071" y="642617"/>
                </a:moveTo>
                <a:lnTo>
                  <a:pt x="4285846" y="850075"/>
                </a:lnTo>
                <a:lnTo>
                  <a:pt x="4337724" y="850075"/>
                </a:lnTo>
                <a:lnTo>
                  <a:pt x="4363663" y="781067"/>
                </a:lnTo>
                <a:lnTo>
                  <a:pt x="4398411" y="781067"/>
                </a:lnTo>
                <a:lnTo>
                  <a:pt x="4398411" y="850075"/>
                </a:lnTo>
                <a:lnTo>
                  <a:pt x="4450289" y="850075"/>
                </a:lnTo>
                <a:lnTo>
                  <a:pt x="4450289" y="642617"/>
                </a:lnTo>
                <a:close/>
                <a:moveTo>
                  <a:pt x="3974470" y="642563"/>
                </a:moveTo>
                <a:lnTo>
                  <a:pt x="4026078" y="694225"/>
                </a:lnTo>
                <a:lnTo>
                  <a:pt x="3974470" y="745995"/>
                </a:lnTo>
                <a:lnTo>
                  <a:pt x="3922863" y="694225"/>
                </a:lnTo>
                <a:close/>
                <a:moveTo>
                  <a:pt x="3974470" y="538699"/>
                </a:moveTo>
                <a:lnTo>
                  <a:pt x="3766688" y="746049"/>
                </a:lnTo>
                <a:lnTo>
                  <a:pt x="3818674" y="797927"/>
                </a:lnTo>
                <a:lnTo>
                  <a:pt x="3870822" y="746211"/>
                </a:lnTo>
                <a:lnTo>
                  <a:pt x="3922592" y="798198"/>
                </a:lnTo>
                <a:lnTo>
                  <a:pt x="3870498" y="850292"/>
                </a:lnTo>
                <a:lnTo>
                  <a:pt x="3922592" y="901846"/>
                </a:lnTo>
                <a:lnTo>
                  <a:pt x="3973498" y="850130"/>
                </a:lnTo>
                <a:lnTo>
                  <a:pt x="4026511" y="901846"/>
                </a:lnTo>
                <a:lnTo>
                  <a:pt x="4078173" y="850130"/>
                </a:lnTo>
                <a:lnTo>
                  <a:pt x="4026511" y="798468"/>
                </a:lnTo>
                <a:lnTo>
                  <a:pt x="4078713" y="746211"/>
                </a:lnTo>
                <a:lnTo>
                  <a:pt x="4130321" y="797927"/>
                </a:lnTo>
                <a:lnTo>
                  <a:pt x="4182037" y="746211"/>
                </a:lnTo>
                <a:close/>
                <a:moveTo>
                  <a:pt x="0" y="0"/>
                </a:moveTo>
                <a:lnTo>
                  <a:pt x="6007100" y="0"/>
                </a:lnTo>
                <a:lnTo>
                  <a:pt x="60071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accent4"/>
          </a:solidFill>
        </p:spPr>
        <p:txBody>
          <a:bodyPr wrap="square">
            <a:noAutofit/>
          </a:bodyPr>
          <a:lstStyle/>
          <a:p>
            <a:r>
              <a:rPr lang="en-US"/>
              <a:t>Click to insert picture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A597281-ABB7-066F-7A10-EF9E1776C1D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39750" y="540001"/>
            <a:ext cx="5465999" cy="387798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ease insert a Headlin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BABAA35-1304-A3EC-A9C3-854E14C4664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Al-Futtaim Template 2025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2D61B8B-D6CA-BCE6-71B4-5C8A439C247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3109594-1B45-46DB-8A0B-416F125317D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7B82DAD-1AFC-2023-BB91-5E7F5BD2C6D0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9A49B11-BA62-4804-9B09-4719E44E4B1C}" type="datetime1">
              <a:rPr lang="en-US" smtClean="0"/>
              <a:t>21/08/2025</a:t>
            </a:fld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8B4C8F2A-2924-AB97-B224-E2E3A1F3CEA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39751" y="927799"/>
            <a:ext cx="5465688" cy="388937"/>
          </a:xfrm>
        </p:spPr>
        <p:txBody>
          <a:bodyPr>
            <a:noAutofit/>
          </a:bodyPr>
          <a:lstStyle>
            <a:lvl1pPr>
              <a:defRPr sz="28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Please insert a </a:t>
            </a:r>
            <a:r>
              <a:rPr lang="en-US" dirty="0" err="1"/>
              <a:t>Subheadline</a:t>
            </a:r>
            <a:endParaRPr lang="en-US" dirty="0"/>
          </a:p>
        </p:txBody>
      </p:sp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6CFB16CB-922F-1EB5-FF04-BBE2E08EDD8E}"/>
              </a:ext>
            </a:extLst>
          </p:cNvPr>
          <p:cNvSpPr>
            <a:spLocks noGrp="1"/>
          </p:cNvSpPr>
          <p:nvPr userDrawn="1">
            <p:ph sz="quarter" idx="14" hasCustomPrompt="1"/>
          </p:nvPr>
        </p:nvSpPr>
        <p:spPr>
          <a:xfrm>
            <a:off x="540001" y="1618720"/>
            <a:ext cx="5465999" cy="4426480"/>
          </a:xfrm>
        </p:spPr>
        <p:txBody>
          <a:bodyPr>
            <a:noAutofit/>
          </a:bodyPr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Please insert content</a:t>
            </a:r>
          </a:p>
        </p:txBody>
      </p:sp>
    </p:spTree>
    <p:extLst>
      <p:ext uri="{BB962C8B-B14F-4D97-AF65-F5344CB8AC3E}">
        <p14:creationId xmlns:p14="http://schemas.microsoft.com/office/powerpoint/2010/main" val="208003338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83" userDrawn="1">
          <p15:clr>
            <a:srgbClr val="FBAE40"/>
          </p15:clr>
        </p15:guide>
        <p15:guide id="2" pos="3896" userDrawn="1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lit Content image_light_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12E37481-81B7-DAE5-9279-A2E3EA447BE6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184900" y="0"/>
            <a:ext cx="6007100" cy="6858000"/>
          </a:xfrm>
          <a:custGeom>
            <a:avLst/>
            <a:gdLst>
              <a:gd name="connsiteX0" fmla="*/ 5073042 w 6007100"/>
              <a:gd name="connsiteY0" fmla="*/ 746373 h 6858000"/>
              <a:gd name="connsiteX1" fmla="*/ 5107789 w 6007100"/>
              <a:gd name="connsiteY1" fmla="*/ 746373 h 6858000"/>
              <a:gd name="connsiteX2" fmla="*/ 5107789 w 6007100"/>
              <a:gd name="connsiteY2" fmla="*/ 815598 h 6858000"/>
              <a:gd name="connsiteX3" fmla="*/ 5073042 w 6007100"/>
              <a:gd name="connsiteY3" fmla="*/ 815598 h 6858000"/>
              <a:gd name="connsiteX4" fmla="*/ 5021218 w 6007100"/>
              <a:gd name="connsiteY4" fmla="*/ 746266 h 6858000"/>
              <a:gd name="connsiteX5" fmla="*/ 5021218 w 6007100"/>
              <a:gd name="connsiteY5" fmla="*/ 746373 h 6858000"/>
              <a:gd name="connsiteX6" fmla="*/ 5021164 w 6007100"/>
              <a:gd name="connsiteY6" fmla="*/ 746373 h 6858000"/>
              <a:gd name="connsiteX7" fmla="*/ 4545452 w 6007100"/>
              <a:gd name="connsiteY7" fmla="*/ 746103 h 6858000"/>
              <a:gd name="connsiteX8" fmla="*/ 4545452 w 6007100"/>
              <a:gd name="connsiteY8" fmla="*/ 780851 h 6858000"/>
              <a:gd name="connsiteX9" fmla="*/ 4597385 w 6007100"/>
              <a:gd name="connsiteY9" fmla="*/ 780851 h 6858000"/>
              <a:gd name="connsiteX10" fmla="*/ 4597385 w 6007100"/>
              <a:gd name="connsiteY10" fmla="*/ 746103 h 6858000"/>
              <a:gd name="connsiteX11" fmla="*/ 5263423 w 6007100"/>
              <a:gd name="connsiteY11" fmla="*/ 711842 h 6858000"/>
              <a:gd name="connsiteX12" fmla="*/ 5263423 w 6007100"/>
              <a:gd name="connsiteY12" fmla="*/ 850075 h 6858000"/>
              <a:gd name="connsiteX13" fmla="*/ 5315301 w 6007100"/>
              <a:gd name="connsiteY13" fmla="*/ 850075 h 6858000"/>
              <a:gd name="connsiteX14" fmla="*/ 5315301 w 6007100"/>
              <a:gd name="connsiteY14" fmla="*/ 746373 h 6858000"/>
              <a:gd name="connsiteX15" fmla="*/ 5341240 w 6007100"/>
              <a:gd name="connsiteY15" fmla="*/ 746373 h 6858000"/>
              <a:gd name="connsiteX16" fmla="*/ 5341240 w 6007100"/>
              <a:gd name="connsiteY16" fmla="*/ 850075 h 6858000"/>
              <a:gd name="connsiteX17" fmla="*/ 5393119 w 6007100"/>
              <a:gd name="connsiteY17" fmla="*/ 850075 h 6858000"/>
              <a:gd name="connsiteX18" fmla="*/ 5393119 w 6007100"/>
              <a:gd name="connsiteY18" fmla="*/ 746373 h 6858000"/>
              <a:gd name="connsiteX19" fmla="*/ 5419112 w 6007100"/>
              <a:gd name="connsiteY19" fmla="*/ 746373 h 6858000"/>
              <a:gd name="connsiteX20" fmla="*/ 5419112 w 6007100"/>
              <a:gd name="connsiteY20" fmla="*/ 850075 h 6858000"/>
              <a:gd name="connsiteX21" fmla="*/ 5470990 w 6007100"/>
              <a:gd name="connsiteY21" fmla="*/ 850075 h 6858000"/>
              <a:gd name="connsiteX22" fmla="*/ 5470990 w 6007100"/>
              <a:gd name="connsiteY22" fmla="*/ 746373 h 6858000"/>
              <a:gd name="connsiteX23" fmla="*/ 5453859 w 6007100"/>
              <a:gd name="connsiteY23" fmla="*/ 711842 h 6858000"/>
              <a:gd name="connsiteX24" fmla="*/ 5263477 w 6007100"/>
              <a:gd name="connsiteY24" fmla="*/ 711842 h 6858000"/>
              <a:gd name="connsiteX25" fmla="*/ 5185606 w 6007100"/>
              <a:gd name="connsiteY25" fmla="*/ 711626 h 6858000"/>
              <a:gd name="connsiteX26" fmla="*/ 5185606 w 6007100"/>
              <a:gd name="connsiteY26" fmla="*/ 850075 h 6858000"/>
              <a:gd name="connsiteX27" fmla="*/ 5237538 w 6007100"/>
              <a:gd name="connsiteY27" fmla="*/ 850075 h 6858000"/>
              <a:gd name="connsiteX28" fmla="*/ 5237538 w 6007100"/>
              <a:gd name="connsiteY28" fmla="*/ 711842 h 6858000"/>
              <a:gd name="connsiteX29" fmla="*/ 4398411 w 6007100"/>
              <a:gd name="connsiteY29" fmla="*/ 677094 h 6858000"/>
              <a:gd name="connsiteX30" fmla="*/ 4398411 w 6007100"/>
              <a:gd name="connsiteY30" fmla="*/ 746373 h 6858000"/>
              <a:gd name="connsiteX31" fmla="*/ 4372201 w 6007100"/>
              <a:gd name="connsiteY31" fmla="*/ 746373 h 6858000"/>
              <a:gd name="connsiteX32" fmla="*/ 5185606 w 6007100"/>
              <a:gd name="connsiteY32" fmla="*/ 642617 h 6858000"/>
              <a:gd name="connsiteX33" fmla="*/ 5185606 w 6007100"/>
              <a:gd name="connsiteY33" fmla="*/ 677094 h 6858000"/>
              <a:gd name="connsiteX34" fmla="*/ 5237538 w 6007100"/>
              <a:gd name="connsiteY34" fmla="*/ 677094 h 6858000"/>
              <a:gd name="connsiteX35" fmla="*/ 5237538 w 6007100"/>
              <a:gd name="connsiteY35" fmla="*/ 642617 h 6858000"/>
              <a:gd name="connsiteX36" fmla="*/ 4614461 w 6007100"/>
              <a:gd name="connsiteY36" fmla="*/ 642617 h 6858000"/>
              <a:gd name="connsiteX37" fmla="*/ 4614461 w 6007100"/>
              <a:gd name="connsiteY37" fmla="*/ 850075 h 6858000"/>
              <a:gd name="connsiteX38" fmla="*/ 4666339 w 6007100"/>
              <a:gd name="connsiteY38" fmla="*/ 850075 h 6858000"/>
              <a:gd name="connsiteX39" fmla="*/ 4666339 w 6007100"/>
              <a:gd name="connsiteY39" fmla="*/ 746373 h 6858000"/>
              <a:gd name="connsiteX40" fmla="*/ 4701141 w 6007100"/>
              <a:gd name="connsiteY40" fmla="*/ 746373 h 6858000"/>
              <a:gd name="connsiteX41" fmla="*/ 4701141 w 6007100"/>
              <a:gd name="connsiteY41" fmla="*/ 815598 h 6858000"/>
              <a:gd name="connsiteX42" fmla="*/ 4718487 w 6007100"/>
              <a:gd name="connsiteY42" fmla="*/ 850075 h 6858000"/>
              <a:gd name="connsiteX43" fmla="*/ 4839644 w 6007100"/>
              <a:gd name="connsiteY43" fmla="*/ 850075 h 6858000"/>
              <a:gd name="connsiteX44" fmla="*/ 4839644 w 6007100"/>
              <a:gd name="connsiteY44" fmla="*/ 746373 h 6858000"/>
              <a:gd name="connsiteX45" fmla="*/ 4865583 w 6007100"/>
              <a:gd name="connsiteY45" fmla="*/ 746373 h 6858000"/>
              <a:gd name="connsiteX46" fmla="*/ 4865583 w 6007100"/>
              <a:gd name="connsiteY46" fmla="*/ 850075 h 6858000"/>
              <a:gd name="connsiteX47" fmla="*/ 4917407 w 6007100"/>
              <a:gd name="connsiteY47" fmla="*/ 850075 h 6858000"/>
              <a:gd name="connsiteX48" fmla="*/ 4917407 w 6007100"/>
              <a:gd name="connsiteY48" fmla="*/ 746373 h 6858000"/>
              <a:gd name="connsiteX49" fmla="*/ 4943401 w 6007100"/>
              <a:gd name="connsiteY49" fmla="*/ 746373 h 6858000"/>
              <a:gd name="connsiteX50" fmla="*/ 4943401 w 6007100"/>
              <a:gd name="connsiteY50" fmla="*/ 850075 h 6858000"/>
              <a:gd name="connsiteX51" fmla="*/ 4995279 w 6007100"/>
              <a:gd name="connsiteY51" fmla="*/ 850075 h 6858000"/>
              <a:gd name="connsiteX52" fmla="*/ 4995279 w 6007100"/>
              <a:gd name="connsiteY52" fmla="*/ 746373 h 6858000"/>
              <a:gd name="connsiteX53" fmla="*/ 5021164 w 6007100"/>
              <a:gd name="connsiteY53" fmla="*/ 746373 h 6858000"/>
              <a:gd name="connsiteX54" fmla="*/ 5021164 w 6007100"/>
              <a:gd name="connsiteY54" fmla="*/ 815598 h 6858000"/>
              <a:gd name="connsiteX55" fmla="*/ 5038564 w 6007100"/>
              <a:gd name="connsiteY55" fmla="*/ 850075 h 6858000"/>
              <a:gd name="connsiteX56" fmla="*/ 5159667 w 6007100"/>
              <a:gd name="connsiteY56" fmla="*/ 850075 h 6858000"/>
              <a:gd name="connsiteX57" fmla="*/ 5159667 w 6007100"/>
              <a:gd name="connsiteY57" fmla="*/ 711842 h 6858000"/>
              <a:gd name="connsiteX58" fmla="*/ 5038564 w 6007100"/>
              <a:gd name="connsiteY58" fmla="*/ 711842 h 6858000"/>
              <a:gd name="connsiteX59" fmla="*/ 5021218 w 6007100"/>
              <a:gd name="connsiteY59" fmla="*/ 746266 h 6858000"/>
              <a:gd name="connsiteX60" fmla="*/ 5021218 w 6007100"/>
              <a:gd name="connsiteY60" fmla="*/ 711842 h 6858000"/>
              <a:gd name="connsiteX61" fmla="*/ 4995279 w 6007100"/>
              <a:gd name="connsiteY61" fmla="*/ 711842 h 6858000"/>
              <a:gd name="connsiteX62" fmla="*/ 4995279 w 6007100"/>
              <a:gd name="connsiteY62" fmla="*/ 677094 h 6858000"/>
              <a:gd name="connsiteX63" fmla="*/ 4943401 w 6007100"/>
              <a:gd name="connsiteY63" fmla="*/ 677094 h 6858000"/>
              <a:gd name="connsiteX64" fmla="*/ 4943401 w 6007100"/>
              <a:gd name="connsiteY64" fmla="*/ 711842 h 6858000"/>
              <a:gd name="connsiteX65" fmla="*/ 4917407 w 6007100"/>
              <a:gd name="connsiteY65" fmla="*/ 711842 h 6858000"/>
              <a:gd name="connsiteX66" fmla="*/ 4917407 w 6007100"/>
              <a:gd name="connsiteY66" fmla="*/ 677094 h 6858000"/>
              <a:gd name="connsiteX67" fmla="*/ 4865583 w 6007100"/>
              <a:gd name="connsiteY67" fmla="*/ 677094 h 6858000"/>
              <a:gd name="connsiteX68" fmla="*/ 4865583 w 6007100"/>
              <a:gd name="connsiteY68" fmla="*/ 711842 h 6858000"/>
              <a:gd name="connsiteX69" fmla="*/ 4787496 w 6007100"/>
              <a:gd name="connsiteY69" fmla="*/ 711842 h 6858000"/>
              <a:gd name="connsiteX70" fmla="*/ 4787496 w 6007100"/>
              <a:gd name="connsiteY70" fmla="*/ 815544 h 6858000"/>
              <a:gd name="connsiteX71" fmla="*/ 4753019 w 6007100"/>
              <a:gd name="connsiteY71" fmla="*/ 815544 h 6858000"/>
              <a:gd name="connsiteX72" fmla="*/ 4753019 w 6007100"/>
              <a:gd name="connsiteY72" fmla="*/ 711842 h 6858000"/>
              <a:gd name="connsiteX73" fmla="*/ 4666393 w 6007100"/>
              <a:gd name="connsiteY73" fmla="*/ 711842 h 6858000"/>
              <a:gd name="connsiteX74" fmla="*/ 4666393 w 6007100"/>
              <a:gd name="connsiteY74" fmla="*/ 677094 h 6858000"/>
              <a:gd name="connsiteX75" fmla="*/ 4753019 w 6007100"/>
              <a:gd name="connsiteY75" fmla="*/ 677094 h 6858000"/>
              <a:gd name="connsiteX76" fmla="*/ 4753019 w 6007100"/>
              <a:gd name="connsiteY76" fmla="*/ 642617 h 6858000"/>
              <a:gd name="connsiteX77" fmla="*/ 4614515 w 6007100"/>
              <a:gd name="connsiteY77" fmla="*/ 642617 h 6858000"/>
              <a:gd name="connsiteX78" fmla="*/ 4476174 w 6007100"/>
              <a:gd name="connsiteY78" fmla="*/ 642617 h 6858000"/>
              <a:gd name="connsiteX79" fmla="*/ 4476174 w 6007100"/>
              <a:gd name="connsiteY79" fmla="*/ 850075 h 6858000"/>
              <a:gd name="connsiteX80" fmla="*/ 4528052 w 6007100"/>
              <a:gd name="connsiteY80" fmla="*/ 850075 h 6858000"/>
              <a:gd name="connsiteX81" fmla="*/ 4528052 w 6007100"/>
              <a:gd name="connsiteY81" fmla="*/ 642617 h 6858000"/>
              <a:gd name="connsiteX82" fmla="*/ 4355071 w 6007100"/>
              <a:gd name="connsiteY82" fmla="*/ 642617 h 6858000"/>
              <a:gd name="connsiteX83" fmla="*/ 4285846 w 6007100"/>
              <a:gd name="connsiteY83" fmla="*/ 850075 h 6858000"/>
              <a:gd name="connsiteX84" fmla="*/ 4337724 w 6007100"/>
              <a:gd name="connsiteY84" fmla="*/ 850075 h 6858000"/>
              <a:gd name="connsiteX85" fmla="*/ 4363663 w 6007100"/>
              <a:gd name="connsiteY85" fmla="*/ 781067 h 6858000"/>
              <a:gd name="connsiteX86" fmla="*/ 4398411 w 6007100"/>
              <a:gd name="connsiteY86" fmla="*/ 781067 h 6858000"/>
              <a:gd name="connsiteX87" fmla="*/ 4398411 w 6007100"/>
              <a:gd name="connsiteY87" fmla="*/ 850075 h 6858000"/>
              <a:gd name="connsiteX88" fmla="*/ 4450289 w 6007100"/>
              <a:gd name="connsiteY88" fmla="*/ 850075 h 6858000"/>
              <a:gd name="connsiteX89" fmla="*/ 4450289 w 6007100"/>
              <a:gd name="connsiteY89" fmla="*/ 642617 h 6858000"/>
              <a:gd name="connsiteX90" fmla="*/ 3974470 w 6007100"/>
              <a:gd name="connsiteY90" fmla="*/ 642563 h 6858000"/>
              <a:gd name="connsiteX91" fmla="*/ 4026078 w 6007100"/>
              <a:gd name="connsiteY91" fmla="*/ 694225 h 6858000"/>
              <a:gd name="connsiteX92" fmla="*/ 3974470 w 6007100"/>
              <a:gd name="connsiteY92" fmla="*/ 745995 h 6858000"/>
              <a:gd name="connsiteX93" fmla="*/ 3922863 w 6007100"/>
              <a:gd name="connsiteY93" fmla="*/ 694225 h 6858000"/>
              <a:gd name="connsiteX94" fmla="*/ 3974470 w 6007100"/>
              <a:gd name="connsiteY94" fmla="*/ 538699 h 6858000"/>
              <a:gd name="connsiteX95" fmla="*/ 3766688 w 6007100"/>
              <a:gd name="connsiteY95" fmla="*/ 746049 h 6858000"/>
              <a:gd name="connsiteX96" fmla="*/ 3818674 w 6007100"/>
              <a:gd name="connsiteY96" fmla="*/ 797927 h 6858000"/>
              <a:gd name="connsiteX97" fmla="*/ 3870822 w 6007100"/>
              <a:gd name="connsiteY97" fmla="*/ 746211 h 6858000"/>
              <a:gd name="connsiteX98" fmla="*/ 3922592 w 6007100"/>
              <a:gd name="connsiteY98" fmla="*/ 798198 h 6858000"/>
              <a:gd name="connsiteX99" fmla="*/ 3870498 w 6007100"/>
              <a:gd name="connsiteY99" fmla="*/ 850292 h 6858000"/>
              <a:gd name="connsiteX100" fmla="*/ 3922592 w 6007100"/>
              <a:gd name="connsiteY100" fmla="*/ 901846 h 6858000"/>
              <a:gd name="connsiteX101" fmla="*/ 3973498 w 6007100"/>
              <a:gd name="connsiteY101" fmla="*/ 850130 h 6858000"/>
              <a:gd name="connsiteX102" fmla="*/ 4026511 w 6007100"/>
              <a:gd name="connsiteY102" fmla="*/ 901846 h 6858000"/>
              <a:gd name="connsiteX103" fmla="*/ 4078173 w 6007100"/>
              <a:gd name="connsiteY103" fmla="*/ 850130 h 6858000"/>
              <a:gd name="connsiteX104" fmla="*/ 4026511 w 6007100"/>
              <a:gd name="connsiteY104" fmla="*/ 798468 h 6858000"/>
              <a:gd name="connsiteX105" fmla="*/ 4078713 w 6007100"/>
              <a:gd name="connsiteY105" fmla="*/ 746211 h 6858000"/>
              <a:gd name="connsiteX106" fmla="*/ 4130321 w 6007100"/>
              <a:gd name="connsiteY106" fmla="*/ 797927 h 6858000"/>
              <a:gd name="connsiteX107" fmla="*/ 4182037 w 6007100"/>
              <a:gd name="connsiteY107" fmla="*/ 746211 h 6858000"/>
              <a:gd name="connsiteX108" fmla="*/ 0 w 6007100"/>
              <a:gd name="connsiteY108" fmla="*/ 0 h 6858000"/>
              <a:gd name="connsiteX109" fmla="*/ 6007100 w 6007100"/>
              <a:gd name="connsiteY109" fmla="*/ 0 h 6858000"/>
              <a:gd name="connsiteX110" fmla="*/ 6007100 w 6007100"/>
              <a:gd name="connsiteY110" fmla="*/ 6858000 h 6858000"/>
              <a:gd name="connsiteX111" fmla="*/ 0 w 6007100"/>
              <a:gd name="connsiteY111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</a:cxnLst>
            <a:rect l="l" t="t" r="r" b="b"/>
            <a:pathLst>
              <a:path w="6007100" h="6858000">
                <a:moveTo>
                  <a:pt x="5073042" y="746373"/>
                </a:moveTo>
                <a:lnTo>
                  <a:pt x="5107789" y="746373"/>
                </a:lnTo>
                <a:lnTo>
                  <a:pt x="5107789" y="815598"/>
                </a:lnTo>
                <a:lnTo>
                  <a:pt x="5073042" y="815598"/>
                </a:lnTo>
                <a:close/>
                <a:moveTo>
                  <a:pt x="5021218" y="746266"/>
                </a:moveTo>
                <a:lnTo>
                  <a:pt x="5021218" y="746373"/>
                </a:lnTo>
                <a:lnTo>
                  <a:pt x="5021164" y="746373"/>
                </a:lnTo>
                <a:close/>
                <a:moveTo>
                  <a:pt x="4545452" y="746103"/>
                </a:moveTo>
                <a:lnTo>
                  <a:pt x="4545452" y="780851"/>
                </a:lnTo>
                <a:lnTo>
                  <a:pt x="4597385" y="780851"/>
                </a:lnTo>
                <a:lnTo>
                  <a:pt x="4597385" y="746103"/>
                </a:lnTo>
                <a:close/>
                <a:moveTo>
                  <a:pt x="5263423" y="711842"/>
                </a:moveTo>
                <a:lnTo>
                  <a:pt x="5263423" y="850075"/>
                </a:lnTo>
                <a:lnTo>
                  <a:pt x="5315301" y="850075"/>
                </a:lnTo>
                <a:lnTo>
                  <a:pt x="5315301" y="746373"/>
                </a:lnTo>
                <a:lnTo>
                  <a:pt x="5341240" y="746373"/>
                </a:lnTo>
                <a:lnTo>
                  <a:pt x="5341240" y="850075"/>
                </a:lnTo>
                <a:lnTo>
                  <a:pt x="5393119" y="850075"/>
                </a:lnTo>
                <a:lnTo>
                  <a:pt x="5393119" y="746373"/>
                </a:lnTo>
                <a:lnTo>
                  <a:pt x="5419112" y="746373"/>
                </a:lnTo>
                <a:lnTo>
                  <a:pt x="5419112" y="850075"/>
                </a:lnTo>
                <a:lnTo>
                  <a:pt x="5470990" y="850075"/>
                </a:lnTo>
                <a:lnTo>
                  <a:pt x="5470990" y="746373"/>
                </a:lnTo>
                <a:lnTo>
                  <a:pt x="5453859" y="711842"/>
                </a:lnTo>
                <a:lnTo>
                  <a:pt x="5263477" y="711842"/>
                </a:lnTo>
                <a:close/>
                <a:moveTo>
                  <a:pt x="5185606" y="711626"/>
                </a:moveTo>
                <a:lnTo>
                  <a:pt x="5185606" y="850075"/>
                </a:lnTo>
                <a:lnTo>
                  <a:pt x="5237538" y="850075"/>
                </a:lnTo>
                <a:lnTo>
                  <a:pt x="5237538" y="711842"/>
                </a:lnTo>
                <a:close/>
                <a:moveTo>
                  <a:pt x="4398411" y="677094"/>
                </a:moveTo>
                <a:lnTo>
                  <a:pt x="4398411" y="746373"/>
                </a:lnTo>
                <a:lnTo>
                  <a:pt x="4372201" y="746373"/>
                </a:lnTo>
                <a:close/>
                <a:moveTo>
                  <a:pt x="5185606" y="642617"/>
                </a:moveTo>
                <a:lnTo>
                  <a:pt x="5185606" y="677094"/>
                </a:lnTo>
                <a:lnTo>
                  <a:pt x="5237538" y="677094"/>
                </a:lnTo>
                <a:lnTo>
                  <a:pt x="5237538" y="642617"/>
                </a:lnTo>
                <a:close/>
                <a:moveTo>
                  <a:pt x="4614461" y="642617"/>
                </a:moveTo>
                <a:lnTo>
                  <a:pt x="4614461" y="850075"/>
                </a:lnTo>
                <a:lnTo>
                  <a:pt x="4666339" y="850075"/>
                </a:lnTo>
                <a:lnTo>
                  <a:pt x="4666339" y="746373"/>
                </a:lnTo>
                <a:lnTo>
                  <a:pt x="4701141" y="746373"/>
                </a:lnTo>
                <a:lnTo>
                  <a:pt x="4701141" y="815598"/>
                </a:lnTo>
                <a:lnTo>
                  <a:pt x="4718487" y="850075"/>
                </a:lnTo>
                <a:lnTo>
                  <a:pt x="4839644" y="850075"/>
                </a:lnTo>
                <a:lnTo>
                  <a:pt x="4839644" y="746373"/>
                </a:lnTo>
                <a:lnTo>
                  <a:pt x="4865583" y="746373"/>
                </a:lnTo>
                <a:lnTo>
                  <a:pt x="4865583" y="850075"/>
                </a:lnTo>
                <a:lnTo>
                  <a:pt x="4917407" y="850075"/>
                </a:lnTo>
                <a:lnTo>
                  <a:pt x="4917407" y="746373"/>
                </a:lnTo>
                <a:lnTo>
                  <a:pt x="4943401" y="746373"/>
                </a:lnTo>
                <a:lnTo>
                  <a:pt x="4943401" y="850075"/>
                </a:lnTo>
                <a:lnTo>
                  <a:pt x="4995279" y="850075"/>
                </a:lnTo>
                <a:lnTo>
                  <a:pt x="4995279" y="746373"/>
                </a:lnTo>
                <a:lnTo>
                  <a:pt x="5021164" y="746373"/>
                </a:lnTo>
                <a:lnTo>
                  <a:pt x="5021164" y="815598"/>
                </a:lnTo>
                <a:lnTo>
                  <a:pt x="5038564" y="850075"/>
                </a:lnTo>
                <a:lnTo>
                  <a:pt x="5159667" y="850075"/>
                </a:lnTo>
                <a:lnTo>
                  <a:pt x="5159667" y="711842"/>
                </a:lnTo>
                <a:lnTo>
                  <a:pt x="5038564" y="711842"/>
                </a:lnTo>
                <a:lnTo>
                  <a:pt x="5021218" y="746266"/>
                </a:lnTo>
                <a:lnTo>
                  <a:pt x="5021218" y="711842"/>
                </a:lnTo>
                <a:lnTo>
                  <a:pt x="4995279" y="711842"/>
                </a:lnTo>
                <a:lnTo>
                  <a:pt x="4995279" y="677094"/>
                </a:lnTo>
                <a:lnTo>
                  <a:pt x="4943401" y="677094"/>
                </a:lnTo>
                <a:lnTo>
                  <a:pt x="4943401" y="711842"/>
                </a:lnTo>
                <a:lnTo>
                  <a:pt x="4917407" y="711842"/>
                </a:lnTo>
                <a:lnTo>
                  <a:pt x="4917407" y="677094"/>
                </a:lnTo>
                <a:lnTo>
                  <a:pt x="4865583" y="677094"/>
                </a:lnTo>
                <a:lnTo>
                  <a:pt x="4865583" y="711842"/>
                </a:lnTo>
                <a:lnTo>
                  <a:pt x="4787496" y="711842"/>
                </a:lnTo>
                <a:lnTo>
                  <a:pt x="4787496" y="815544"/>
                </a:lnTo>
                <a:lnTo>
                  <a:pt x="4753019" y="815544"/>
                </a:lnTo>
                <a:lnTo>
                  <a:pt x="4753019" y="711842"/>
                </a:lnTo>
                <a:lnTo>
                  <a:pt x="4666393" y="711842"/>
                </a:lnTo>
                <a:lnTo>
                  <a:pt x="4666393" y="677094"/>
                </a:lnTo>
                <a:lnTo>
                  <a:pt x="4753019" y="677094"/>
                </a:lnTo>
                <a:lnTo>
                  <a:pt x="4753019" y="642617"/>
                </a:lnTo>
                <a:lnTo>
                  <a:pt x="4614515" y="642617"/>
                </a:lnTo>
                <a:close/>
                <a:moveTo>
                  <a:pt x="4476174" y="642617"/>
                </a:moveTo>
                <a:lnTo>
                  <a:pt x="4476174" y="850075"/>
                </a:lnTo>
                <a:lnTo>
                  <a:pt x="4528052" y="850075"/>
                </a:lnTo>
                <a:lnTo>
                  <a:pt x="4528052" y="642617"/>
                </a:lnTo>
                <a:close/>
                <a:moveTo>
                  <a:pt x="4355071" y="642617"/>
                </a:moveTo>
                <a:lnTo>
                  <a:pt x="4285846" y="850075"/>
                </a:lnTo>
                <a:lnTo>
                  <a:pt x="4337724" y="850075"/>
                </a:lnTo>
                <a:lnTo>
                  <a:pt x="4363663" y="781067"/>
                </a:lnTo>
                <a:lnTo>
                  <a:pt x="4398411" y="781067"/>
                </a:lnTo>
                <a:lnTo>
                  <a:pt x="4398411" y="850075"/>
                </a:lnTo>
                <a:lnTo>
                  <a:pt x="4450289" y="850075"/>
                </a:lnTo>
                <a:lnTo>
                  <a:pt x="4450289" y="642617"/>
                </a:lnTo>
                <a:close/>
                <a:moveTo>
                  <a:pt x="3974470" y="642563"/>
                </a:moveTo>
                <a:lnTo>
                  <a:pt x="4026078" y="694225"/>
                </a:lnTo>
                <a:lnTo>
                  <a:pt x="3974470" y="745995"/>
                </a:lnTo>
                <a:lnTo>
                  <a:pt x="3922863" y="694225"/>
                </a:lnTo>
                <a:close/>
                <a:moveTo>
                  <a:pt x="3974470" y="538699"/>
                </a:moveTo>
                <a:lnTo>
                  <a:pt x="3766688" y="746049"/>
                </a:lnTo>
                <a:lnTo>
                  <a:pt x="3818674" y="797927"/>
                </a:lnTo>
                <a:lnTo>
                  <a:pt x="3870822" y="746211"/>
                </a:lnTo>
                <a:lnTo>
                  <a:pt x="3922592" y="798198"/>
                </a:lnTo>
                <a:lnTo>
                  <a:pt x="3870498" y="850292"/>
                </a:lnTo>
                <a:lnTo>
                  <a:pt x="3922592" y="901846"/>
                </a:lnTo>
                <a:lnTo>
                  <a:pt x="3973498" y="850130"/>
                </a:lnTo>
                <a:lnTo>
                  <a:pt x="4026511" y="901846"/>
                </a:lnTo>
                <a:lnTo>
                  <a:pt x="4078173" y="850130"/>
                </a:lnTo>
                <a:lnTo>
                  <a:pt x="4026511" y="798468"/>
                </a:lnTo>
                <a:lnTo>
                  <a:pt x="4078713" y="746211"/>
                </a:lnTo>
                <a:lnTo>
                  <a:pt x="4130321" y="797927"/>
                </a:lnTo>
                <a:lnTo>
                  <a:pt x="4182037" y="746211"/>
                </a:lnTo>
                <a:close/>
                <a:moveTo>
                  <a:pt x="0" y="0"/>
                </a:moveTo>
                <a:lnTo>
                  <a:pt x="6007100" y="0"/>
                </a:lnTo>
                <a:lnTo>
                  <a:pt x="60071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accent4"/>
          </a:solidFill>
        </p:spPr>
        <p:txBody>
          <a:bodyPr wrap="square">
            <a:noAutofit/>
          </a:bodyPr>
          <a:lstStyle/>
          <a:p>
            <a:r>
              <a:rPr lang="en-US"/>
              <a:t>Click to insert picture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A597281-ABB7-066F-7A10-EF9E1776C1D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39750" y="540001"/>
            <a:ext cx="5465999" cy="387798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ease insert a Headlin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BABAA35-1304-A3EC-A9C3-854E14C4664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Al-Futtaim Template 2025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2D61B8B-D6CA-BCE6-71B4-5C8A439C247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83109594-1B45-46DB-8A0B-416F125317D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7B82DAD-1AFC-2023-BB91-5E7F5BD2C6D0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C65EF567-561D-4887-8FA9-AA1BC5EE6983}" type="datetime1">
              <a:rPr lang="en-US" smtClean="0"/>
              <a:t>21/08/2025</a:t>
            </a:fld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8B4C8F2A-2924-AB97-B224-E2E3A1F3CEA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39751" y="927799"/>
            <a:ext cx="5465688" cy="388937"/>
          </a:xfrm>
        </p:spPr>
        <p:txBody>
          <a:bodyPr>
            <a:noAutofit/>
          </a:bodyPr>
          <a:lstStyle>
            <a:lvl1pPr>
              <a:defRPr sz="28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Please insert a </a:t>
            </a:r>
            <a:r>
              <a:rPr lang="en-US" dirty="0" err="1"/>
              <a:t>Subheadline</a:t>
            </a:r>
            <a:endParaRPr lang="en-US" dirty="0"/>
          </a:p>
        </p:txBody>
      </p:sp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6CFB16CB-922F-1EB5-FF04-BBE2E08EDD8E}"/>
              </a:ext>
            </a:extLst>
          </p:cNvPr>
          <p:cNvSpPr>
            <a:spLocks noGrp="1"/>
          </p:cNvSpPr>
          <p:nvPr userDrawn="1">
            <p:ph sz="quarter" idx="14" hasCustomPrompt="1"/>
          </p:nvPr>
        </p:nvSpPr>
        <p:spPr>
          <a:xfrm>
            <a:off x="540001" y="1618720"/>
            <a:ext cx="5465999" cy="4426480"/>
          </a:xfrm>
        </p:spPr>
        <p:txBody>
          <a:bodyPr>
            <a:noAutofit/>
          </a:bodyPr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Please insert content</a:t>
            </a:r>
          </a:p>
        </p:txBody>
      </p:sp>
    </p:spTree>
    <p:extLst>
      <p:ext uri="{BB962C8B-B14F-4D97-AF65-F5344CB8AC3E}">
        <p14:creationId xmlns:p14="http://schemas.microsoft.com/office/powerpoint/2010/main" val="20591375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83" userDrawn="1">
          <p15:clr>
            <a:srgbClr val="FBAE40"/>
          </p15:clr>
        </p15:guide>
        <p15:guide id="2" pos="3896" userDrawn="1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plit desig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C4BA23EE-BF87-1090-7766-E2BB3D8EC3B3}"/>
              </a:ext>
            </a:extLst>
          </p:cNvPr>
          <p:cNvSpPr/>
          <p:nvPr userDrawn="1"/>
        </p:nvSpPr>
        <p:spPr bwMode="white">
          <a:xfrm>
            <a:off x="6095387" y="0"/>
            <a:ext cx="6096613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A597281-ABB7-066F-7A10-EF9E1776C1D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39751" y="540001"/>
            <a:ext cx="5376612" cy="387798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ease insert a Headlin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BABAA35-1304-A3EC-A9C3-854E14C4664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539748" y="6195138"/>
            <a:ext cx="5376865" cy="123111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Al-Futtaim Template 2025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2D61B8B-D6CA-BCE6-71B4-5C8A439C247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3109594-1B45-46DB-8A0B-416F125317D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7B82DAD-1AFC-2023-BB91-5E7F5BD2C6D0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AF6FC4D-0D07-483A-AEC7-6C8E5026D5BD}" type="datetime1">
              <a:rPr lang="en-US" smtClean="0"/>
              <a:t>21/08/2025</a:t>
            </a:fld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8B4C8F2A-2924-AB97-B224-E2E3A1F3CEA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39751" y="927799"/>
            <a:ext cx="5376306" cy="388937"/>
          </a:xfrm>
        </p:spPr>
        <p:txBody>
          <a:bodyPr>
            <a:noAutofit/>
          </a:bodyPr>
          <a:lstStyle>
            <a:lvl1pPr>
              <a:defRPr sz="28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Please insert a </a:t>
            </a:r>
            <a:r>
              <a:rPr lang="en-US" dirty="0" err="1"/>
              <a:t>Subheadline</a:t>
            </a:r>
            <a:endParaRPr lang="en-US" dirty="0"/>
          </a:p>
        </p:txBody>
      </p:sp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6CFB16CB-922F-1EB5-FF04-BBE2E08EDD8E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540002" y="1618719"/>
            <a:ext cx="5376612" cy="4427537"/>
          </a:xfrm>
        </p:spPr>
        <p:txBody>
          <a:bodyPr>
            <a:noAutofit/>
          </a:bodyPr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Please insert content</a:t>
            </a:r>
          </a:p>
        </p:txBody>
      </p:sp>
      <p:sp>
        <p:nvSpPr>
          <p:cNvPr id="14" name="Content Placeholder 13">
            <a:extLst>
              <a:ext uri="{FF2B5EF4-FFF2-40B4-BE49-F238E27FC236}">
                <a16:creationId xmlns:a16="http://schemas.microsoft.com/office/drawing/2014/main" id="{3F82E096-CAC5-9D80-FF2E-17A527AF04E3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6453188" y="1617662"/>
            <a:ext cx="5198811" cy="4427537"/>
          </a:xfrm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Please insert content</a:t>
            </a: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B54BEC69-A027-B823-F3F1-A61DD22740CC}"/>
              </a:ext>
            </a:extLst>
          </p:cNvPr>
          <p:cNvGrpSpPr/>
          <p:nvPr userDrawn="1"/>
        </p:nvGrpSpPr>
        <p:grpSpPr bwMode="black">
          <a:xfrm>
            <a:off x="9951588" y="538699"/>
            <a:ext cx="1704301" cy="363146"/>
            <a:chOff x="9951588" y="538699"/>
            <a:chExt cx="1704301" cy="363146"/>
          </a:xfrm>
          <a:solidFill>
            <a:schemeClr val="bg1"/>
          </a:solidFill>
        </p:grpSpPr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AFEEEC1C-4FFB-B523-5BED-7C8EE3E9C289}"/>
                </a:ext>
              </a:extLst>
            </p:cNvPr>
            <p:cNvSpPr/>
            <p:nvPr/>
          </p:nvSpPr>
          <p:spPr bwMode="black">
            <a:xfrm>
              <a:off x="10470746" y="642617"/>
              <a:ext cx="1185143" cy="207458"/>
            </a:xfrm>
            <a:custGeom>
              <a:avLst/>
              <a:gdLst>
                <a:gd name="connsiteX0" fmla="*/ 259606 w 1185143"/>
                <a:gd name="connsiteY0" fmla="*/ 138234 h 207458"/>
                <a:gd name="connsiteX1" fmla="*/ 311539 w 1185143"/>
                <a:gd name="connsiteY1" fmla="*/ 138234 h 207458"/>
                <a:gd name="connsiteX2" fmla="*/ 311539 w 1185143"/>
                <a:gd name="connsiteY2" fmla="*/ 103486 h 207458"/>
                <a:gd name="connsiteX3" fmla="*/ 259606 w 1185143"/>
                <a:gd name="connsiteY3" fmla="*/ 103486 h 207458"/>
                <a:gd name="connsiteX4" fmla="*/ 259606 w 1185143"/>
                <a:gd name="connsiteY4" fmla="*/ 138234 h 207458"/>
                <a:gd name="connsiteX5" fmla="*/ 787196 w 1185143"/>
                <a:gd name="connsiteY5" fmla="*/ 103756 h 207458"/>
                <a:gd name="connsiteX6" fmla="*/ 821943 w 1185143"/>
                <a:gd name="connsiteY6" fmla="*/ 103756 h 207458"/>
                <a:gd name="connsiteX7" fmla="*/ 821943 w 1185143"/>
                <a:gd name="connsiteY7" fmla="*/ 172981 h 207458"/>
                <a:gd name="connsiteX8" fmla="*/ 787196 w 1185143"/>
                <a:gd name="connsiteY8" fmla="*/ 172981 h 207458"/>
                <a:gd name="connsiteX9" fmla="*/ 787196 w 1185143"/>
                <a:gd name="connsiteY9" fmla="*/ 103756 h 207458"/>
                <a:gd name="connsiteX10" fmla="*/ 752718 w 1185143"/>
                <a:gd name="connsiteY10" fmla="*/ 69225 h 207458"/>
                <a:gd name="connsiteX11" fmla="*/ 735318 w 1185143"/>
                <a:gd name="connsiteY11" fmla="*/ 103756 h 207458"/>
                <a:gd name="connsiteX12" fmla="*/ 735318 w 1185143"/>
                <a:gd name="connsiteY12" fmla="*/ 172981 h 207458"/>
                <a:gd name="connsiteX13" fmla="*/ 752718 w 1185143"/>
                <a:gd name="connsiteY13" fmla="*/ 207458 h 207458"/>
                <a:gd name="connsiteX14" fmla="*/ 873821 w 1185143"/>
                <a:gd name="connsiteY14" fmla="*/ 207458 h 207458"/>
                <a:gd name="connsiteX15" fmla="*/ 873821 w 1185143"/>
                <a:gd name="connsiteY15" fmla="*/ 69225 h 207458"/>
                <a:gd name="connsiteX16" fmla="*/ 752718 w 1185143"/>
                <a:gd name="connsiteY16" fmla="*/ 69225 h 207458"/>
                <a:gd name="connsiteX17" fmla="*/ 977577 w 1185143"/>
                <a:gd name="connsiteY17" fmla="*/ 69225 h 207458"/>
                <a:gd name="connsiteX18" fmla="*/ 977577 w 1185143"/>
                <a:gd name="connsiteY18" fmla="*/ 207458 h 207458"/>
                <a:gd name="connsiteX19" fmla="*/ 1029455 w 1185143"/>
                <a:gd name="connsiteY19" fmla="*/ 207458 h 207458"/>
                <a:gd name="connsiteX20" fmla="*/ 1029455 w 1185143"/>
                <a:gd name="connsiteY20" fmla="*/ 103756 h 207458"/>
                <a:gd name="connsiteX21" fmla="*/ 1055394 w 1185143"/>
                <a:gd name="connsiteY21" fmla="*/ 103756 h 207458"/>
                <a:gd name="connsiteX22" fmla="*/ 1055394 w 1185143"/>
                <a:gd name="connsiteY22" fmla="*/ 207458 h 207458"/>
                <a:gd name="connsiteX23" fmla="*/ 1107273 w 1185143"/>
                <a:gd name="connsiteY23" fmla="*/ 207458 h 207458"/>
                <a:gd name="connsiteX24" fmla="*/ 1107273 w 1185143"/>
                <a:gd name="connsiteY24" fmla="*/ 103756 h 207458"/>
                <a:gd name="connsiteX25" fmla="*/ 1133266 w 1185143"/>
                <a:gd name="connsiteY25" fmla="*/ 103756 h 207458"/>
                <a:gd name="connsiteX26" fmla="*/ 1133266 w 1185143"/>
                <a:gd name="connsiteY26" fmla="*/ 207458 h 207458"/>
                <a:gd name="connsiteX27" fmla="*/ 1185144 w 1185143"/>
                <a:gd name="connsiteY27" fmla="*/ 207458 h 207458"/>
                <a:gd name="connsiteX28" fmla="*/ 1185144 w 1185143"/>
                <a:gd name="connsiteY28" fmla="*/ 103756 h 207458"/>
                <a:gd name="connsiteX29" fmla="*/ 1168013 w 1185143"/>
                <a:gd name="connsiteY29" fmla="*/ 69225 h 207458"/>
                <a:gd name="connsiteX30" fmla="*/ 977631 w 1185143"/>
                <a:gd name="connsiteY30" fmla="*/ 69225 h 207458"/>
                <a:gd name="connsiteX31" fmla="*/ 899760 w 1185143"/>
                <a:gd name="connsiteY31" fmla="*/ 207458 h 207458"/>
                <a:gd name="connsiteX32" fmla="*/ 951692 w 1185143"/>
                <a:gd name="connsiteY32" fmla="*/ 207458 h 207458"/>
                <a:gd name="connsiteX33" fmla="*/ 951692 w 1185143"/>
                <a:gd name="connsiteY33" fmla="*/ 69225 h 207458"/>
                <a:gd name="connsiteX34" fmla="*/ 899760 w 1185143"/>
                <a:gd name="connsiteY34" fmla="*/ 69009 h 207458"/>
                <a:gd name="connsiteX35" fmla="*/ 899760 w 1185143"/>
                <a:gd name="connsiteY35" fmla="*/ 207458 h 207458"/>
                <a:gd name="connsiteX36" fmla="*/ 112565 w 1185143"/>
                <a:gd name="connsiteY36" fmla="*/ 34477 h 207458"/>
                <a:gd name="connsiteX37" fmla="*/ 112565 w 1185143"/>
                <a:gd name="connsiteY37" fmla="*/ 103756 h 207458"/>
                <a:gd name="connsiteX38" fmla="*/ 86355 w 1185143"/>
                <a:gd name="connsiteY38" fmla="*/ 103756 h 207458"/>
                <a:gd name="connsiteX39" fmla="*/ 112565 w 1185143"/>
                <a:gd name="connsiteY39" fmla="*/ 34477 h 207458"/>
                <a:gd name="connsiteX40" fmla="*/ 69225 w 1185143"/>
                <a:gd name="connsiteY40" fmla="*/ 0 h 207458"/>
                <a:gd name="connsiteX41" fmla="*/ 0 w 1185143"/>
                <a:gd name="connsiteY41" fmla="*/ 207458 h 207458"/>
                <a:gd name="connsiteX42" fmla="*/ 51878 w 1185143"/>
                <a:gd name="connsiteY42" fmla="*/ 207458 h 207458"/>
                <a:gd name="connsiteX43" fmla="*/ 77817 w 1185143"/>
                <a:gd name="connsiteY43" fmla="*/ 138450 h 207458"/>
                <a:gd name="connsiteX44" fmla="*/ 112565 w 1185143"/>
                <a:gd name="connsiteY44" fmla="*/ 138450 h 207458"/>
                <a:gd name="connsiteX45" fmla="*/ 112565 w 1185143"/>
                <a:gd name="connsiteY45" fmla="*/ 207458 h 207458"/>
                <a:gd name="connsiteX46" fmla="*/ 164443 w 1185143"/>
                <a:gd name="connsiteY46" fmla="*/ 207458 h 207458"/>
                <a:gd name="connsiteX47" fmla="*/ 164443 w 1185143"/>
                <a:gd name="connsiteY47" fmla="*/ 0 h 207458"/>
                <a:gd name="connsiteX48" fmla="*/ 69225 w 1185143"/>
                <a:gd name="connsiteY48" fmla="*/ 0 h 207458"/>
                <a:gd name="connsiteX49" fmla="*/ 190328 w 1185143"/>
                <a:gd name="connsiteY49" fmla="*/ 207458 h 207458"/>
                <a:gd name="connsiteX50" fmla="*/ 242206 w 1185143"/>
                <a:gd name="connsiteY50" fmla="*/ 207458 h 207458"/>
                <a:gd name="connsiteX51" fmla="*/ 242206 w 1185143"/>
                <a:gd name="connsiteY51" fmla="*/ 0 h 207458"/>
                <a:gd name="connsiteX52" fmla="*/ 190328 w 1185143"/>
                <a:gd name="connsiteY52" fmla="*/ 0 h 207458"/>
                <a:gd name="connsiteX53" fmla="*/ 190328 w 1185143"/>
                <a:gd name="connsiteY53" fmla="*/ 207458 h 207458"/>
                <a:gd name="connsiteX54" fmla="*/ 328615 w 1185143"/>
                <a:gd name="connsiteY54" fmla="*/ 0 h 207458"/>
                <a:gd name="connsiteX55" fmla="*/ 328615 w 1185143"/>
                <a:gd name="connsiteY55" fmla="*/ 207458 h 207458"/>
                <a:gd name="connsiteX56" fmla="*/ 380493 w 1185143"/>
                <a:gd name="connsiteY56" fmla="*/ 207458 h 207458"/>
                <a:gd name="connsiteX57" fmla="*/ 380493 w 1185143"/>
                <a:gd name="connsiteY57" fmla="*/ 103756 h 207458"/>
                <a:gd name="connsiteX58" fmla="*/ 415295 w 1185143"/>
                <a:gd name="connsiteY58" fmla="*/ 103756 h 207458"/>
                <a:gd name="connsiteX59" fmla="*/ 415295 w 1185143"/>
                <a:gd name="connsiteY59" fmla="*/ 172981 h 207458"/>
                <a:gd name="connsiteX60" fmla="*/ 432641 w 1185143"/>
                <a:gd name="connsiteY60" fmla="*/ 207458 h 207458"/>
                <a:gd name="connsiteX61" fmla="*/ 553798 w 1185143"/>
                <a:gd name="connsiteY61" fmla="*/ 207458 h 207458"/>
                <a:gd name="connsiteX62" fmla="*/ 553798 w 1185143"/>
                <a:gd name="connsiteY62" fmla="*/ 103756 h 207458"/>
                <a:gd name="connsiteX63" fmla="*/ 579737 w 1185143"/>
                <a:gd name="connsiteY63" fmla="*/ 103756 h 207458"/>
                <a:gd name="connsiteX64" fmla="*/ 579737 w 1185143"/>
                <a:gd name="connsiteY64" fmla="*/ 207458 h 207458"/>
                <a:gd name="connsiteX65" fmla="*/ 631561 w 1185143"/>
                <a:gd name="connsiteY65" fmla="*/ 207458 h 207458"/>
                <a:gd name="connsiteX66" fmla="*/ 631561 w 1185143"/>
                <a:gd name="connsiteY66" fmla="*/ 103756 h 207458"/>
                <a:gd name="connsiteX67" fmla="*/ 657555 w 1185143"/>
                <a:gd name="connsiteY67" fmla="*/ 103756 h 207458"/>
                <a:gd name="connsiteX68" fmla="*/ 657555 w 1185143"/>
                <a:gd name="connsiteY68" fmla="*/ 207458 h 207458"/>
                <a:gd name="connsiteX69" fmla="*/ 709433 w 1185143"/>
                <a:gd name="connsiteY69" fmla="*/ 207458 h 207458"/>
                <a:gd name="connsiteX70" fmla="*/ 709433 w 1185143"/>
                <a:gd name="connsiteY70" fmla="*/ 103756 h 207458"/>
                <a:gd name="connsiteX71" fmla="*/ 735372 w 1185143"/>
                <a:gd name="connsiteY71" fmla="*/ 103756 h 207458"/>
                <a:gd name="connsiteX72" fmla="*/ 735372 w 1185143"/>
                <a:gd name="connsiteY72" fmla="*/ 69225 h 207458"/>
                <a:gd name="connsiteX73" fmla="*/ 709433 w 1185143"/>
                <a:gd name="connsiteY73" fmla="*/ 69225 h 207458"/>
                <a:gd name="connsiteX74" fmla="*/ 709433 w 1185143"/>
                <a:gd name="connsiteY74" fmla="*/ 34477 h 207458"/>
                <a:gd name="connsiteX75" fmla="*/ 657555 w 1185143"/>
                <a:gd name="connsiteY75" fmla="*/ 34477 h 207458"/>
                <a:gd name="connsiteX76" fmla="*/ 657555 w 1185143"/>
                <a:gd name="connsiteY76" fmla="*/ 69225 h 207458"/>
                <a:gd name="connsiteX77" fmla="*/ 631561 w 1185143"/>
                <a:gd name="connsiteY77" fmla="*/ 69225 h 207458"/>
                <a:gd name="connsiteX78" fmla="*/ 631561 w 1185143"/>
                <a:gd name="connsiteY78" fmla="*/ 34477 h 207458"/>
                <a:gd name="connsiteX79" fmla="*/ 579737 w 1185143"/>
                <a:gd name="connsiteY79" fmla="*/ 34477 h 207458"/>
                <a:gd name="connsiteX80" fmla="*/ 579737 w 1185143"/>
                <a:gd name="connsiteY80" fmla="*/ 69225 h 207458"/>
                <a:gd name="connsiteX81" fmla="*/ 501650 w 1185143"/>
                <a:gd name="connsiteY81" fmla="*/ 69225 h 207458"/>
                <a:gd name="connsiteX82" fmla="*/ 501650 w 1185143"/>
                <a:gd name="connsiteY82" fmla="*/ 172927 h 207458"/>
                <a:gd name="connsiteX83" fmla="*/ 467173 w 1185143"/>
                <a:gd name="connsiteY83" fmla="*/ 172927 h 207458"/>
                <a:gd name="connsiteX84" fmla="*/ 467173 w 1185143"/>
                <a:gd name="connsiteY84" fmla="*/ 69225 h 207458"/>
                <a:gd name="connsiteX85" fmla="*/ 380547 w 1185143"/>
                <a:gd name="connsiteY85" fmla="*/ 69225 h 207458"/>
                <a:gd name="connsiteX86" fmla="*/ 380547 w 1185143"/>
                <a:gd name="connsiteY86" fmla="*/ 34477 h 207458"/>
                <a:gd name="connsiteX87" fmla="*/ 467173 w 1185143"/>
                <a:gd name="connsiteY87" fmla="*/ 34477 h 207458"/>
                <a:gd name="connsiteX88" fmla="*/ 467173 w 1185143"/>
                <a:gd name="connsiteY88" fmla="*/ 0 h 207458"/>
                <a:gd name="connsiteX89" fmla="*/ 328669 w 1185143"/>
                <a:gd name="connsiteY89" fmla="*/ 0 h 207458"/>
                <a:gd name="connsiteX90" fmla="*/ 899760 w 1185143"/>
                <a:gd name="connsiteY90" fmla="*/ 34477 h 207458"/>
                <a:gd name="connsiteX91" fmla="*/ 951692 w 1185143"/>
                <a:gd name="connsiteY91" fmla="*/ 34477 h 207458"/>
                <a:gd name="connsiteX92" fmla="*/ 951692 w 1185143"/>
                <a:gd name="connsiteY92" fmla="*/ 0 h 207458"/>
                <a:gd name="connsiteX93" fmla="*/ 899760 w 1185143"/>
                <a:gd name="connsiteY93" fmla="*/ 0 h 207458"/>
                <a:gd name="connsiteX94" fmla="*/ 899760 w 1185143"/>
                <a:gd name="connsiteY94" fmla="*/ 34477 h 2074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</a:cxnLst>
              <a:rect l="l" t="t" r="r" b="b"/>
              <a:pathLst>
                <a:path w="1185143" h="207458">
                  <a:moveTo>
                    <a:pt x="259606" y="138234"/>
                  </a:moveTo>
                  <a:lnTo>
                    <a:pt x="311539" y="138234"/>
                  </a:lnTo>
                  <a:lnTo>
                    <a:pt x="311539" y="103486"/>
                  </a:lnTo>
                  <a:lnTo>
                    <a:pt x="259606" y="103486"/>
                  </a:lnTo>
                  <a:lnTo>
                    <a:pt x="259606" y="138234"/>
                  </a:lnTo>
                  <a:close/>
                  <a:moveTo>
                    <a:pt x="787196" y="103756"/>
                  </a:moveTo>
                  <a:lnTo>
                    <a:pt x="821943" y="103756"/>
                  </a:lnTo>
                  <a:lnTo>
                    <a:pt x="821943" y="172981"/>
                  </a:lnTo>
                  <a:lnTo>
                    <a:pt x="787196" y="172981"/>
                  </a:lnTo>
                  <a:lnTo>
                    <a:pt x="787196" y="103756"/>
                  </a:lnTo>
                  <a:close/>
                  <a:moveTo>
                    <a:pt x="752718" y="69225"/>
                  </a:moveTo>
                  <a:lnTo>
                    <a:pt x="735318" y="103756"/>
                  </a:lnTo>
                  <a:lnTo>
                    <a:pt x="735318" y="172981"/>
                  </a:lnTo>
                  <a:lnTo>
                    <a:pt x="752718" y="207458"/>
                  </a:lnTo>
                  <a:lnTo>
                    <a:pt x="873821" y="207458"/>
                  </a:lnTo>
                  <a:lnTo>
                    <a:pt x="873821" y="69225"/>
                  </a:lnTo>
                  <a:lnTo>
                    <a:pt x="752718" y="69225"/>
                  </a:lnTo>
                  <a:close/>
                  <a:moveTo>
                    <a:pt x="977577" y="69225"/>
                  </a:moveTo>
                  <a:lnTo>
                    <a:pt x="977577" y="207458"/>
                  </a:lnTo>
                  <a:lnTo>
                    <a:pt x="1029455" y="207458"/>
                  </a:lnTo>
                  <a:lnTo>
                    <a:pt x="1029455" y="103756"/>
                  </a:lnTo>
                  <a:lnTo>
                    <a:pt x="1055394" y="103756"/>
                  </a:lnTo>
                  <a:lnTo>
                    <a:pt x="1055394" y="207458"/>
                  </a:lnTo>
                  <a:lnTo>
                    <a:pt x="1107273" y="207458"/>
                  </a:lnTo>
                  <a:lnTo>
                    <a:pt x="1107273" y="103756"/>
                  </a:lnTo>
                  <a:lnTo>
                    <a:pt x="1133266" y="103756"/>
                  </a:lnTo>
                  <a:lnTo>
                    <a:pt x="1133266" y="207458"/>
                  </a:lnTo>
                  <a:lnTo>
                    <a:pt x="1185144" y="207458"/>
                  </a:lnTo>
                  <a:lnTo>
                    <a:pt x="1185144" y="103756"/>
                  </a:lnTo>
                  <a:lnTo>
                    <a:pt x="1168013" y="69225"/>
                  </a:lnTo>
                  <a:lnTo>
                    <a:pt x="977631" y="69225"/>
                  </a:lnTo>
                  <a:close/>
                  <a:moveTo>
                    <a:pt x="899760" y="207458"/>
                  </a:moveTo>
                  <a:lnTo>
                    <a:pt x="951692" y="207458"/>
                  </a:lnTo>
                  <a:lnTo>
                    <a:pt x="951692" y="69225"/>
                  </a:lnTo>
                  <a:lnTo>
                    <a:pt x="899760" y="69009"/>
                  </a:lnTo>
                  <a:lnTo>
                    <a:pt x="899760" y="207458"/>
                  </a:lnTo>
                  <a:close/>
                  <a:moveTo>
                    <a:pt x="112565" y="34477"/>
                  </a:moveTo>
                  <a:lnTo>
                    <a:pt x="112565" y="103756"/>
                  </a:lnTo>
                  <a:lnTo>
                    <a:pt x="86355" y="103756"/>
                  </a:lnTo>
                  <a:lnTo>
                    <a:pt x="112565" y="34477"/>
                  </a:lnTo>
                  <a:close/>
                  <a:moveTo>
                    <a:pt x="69225" y="0"/>
                  </a:moveTo>
                  <a:lnTo>
                    <a:pt x="0" y="207458"/>
                  </a:lnTo>
                  <a:lnTo>
                    <a:pt x="51878" y="207458"/>
                  </a:lnTo>
                  <a:lnTo>
                    <a:pt x="77817" y="138450"/>
                  </a:lnTo>
                  <a:lnTo>
                    <a:pt x="112565" y="138450"/>
                  </a:lnTo>
                  <a:lnTo>
                    <a:pt x="112565" y="207458"/>
                  </a:lnTo>
                  <a:lnTo>
                    <a:pt x="164443" y="207458"/>
                  </a:lnTo>
                  <a:lnTo>
                    <a:pt x="164443" y="0"/>
                  </a:lnTo>
                  <a:lnTo>
                    <a:pt x="69225" y="0"/>
                  </a:lnTo>
                  <a:close/>
                  <a:moveTo>
                    <a:pt x="190328" y="207458"/>
                  </a:moveTo>
                  <a:lnTo>
                    <a:pt x="242206" y="207458"/>
                  </a:lnTo>
                  <a:lnTo>
                    <a:pt x="242206" y="0"/>
                  </a:lnTo>
                  <a:lnTo>
                    <a:pt x="190328" y="0"/>
                  </a:lnTo>
                  <a:lnTo>
                    <a:pt x="190328" y="207458"/>
                  </a:lnTo>
                  <a:close/>
                  <a:moveTo>
                    <a:pt x="328615" y="0"/>
                  </a:moveTo>
                  <a:lnTo>
                    <a:pt x="328615" y="207458"/>
                  </a:lnTo>
                  <a:lnTo>
                    <a:pt x="380493" y="207458"/>
                  </a:lnTo>
                  <a:lnTo>
                    <a:pt x="380493" y="103756"/>
                  </a:lnTo>
                  <a:lnTo>
                    <a:pt x="415295" y="103756"/>
                  </a:lnTo>
                  <a:lnTo>
                    <a:pt x="415295" y="172981"/>
                  </a:lnTo>
                  <a:lnTo>
                    <a:pt x="432641" y="207458"/>
                  </a:lnTo>
                  <a:lnTo>
                    <a:pt x="553798" y="207458"/>
                  </a:lnTo>
                  <a:lnTo>
                    <a:pt x="553798" y="103756"/>
                  </a:lnTo>
                  <a:lnTo>
                    <a:pt x="579737" y="103756"/>
                  </a:lnTo>
                  <a:lnTo>
                    <a:pt x="579737" y="207458"/>
                  </a:lnTo>
                  <a:lnTo>
                    <a:pt x="631561" y="207458"/>
                  </a:lnTo>
                  <a:lnTo>
                    <a:pt x="631561" y="103756"/>
                  </a:lnTo>
                  <a:lnTo>
                    <a:pt x="657555" y="103756"/>
                  </a:lnTo>
                  <a:lnTo>
                    <a:pt x="657555" y="207458"/>
                  </a:lnTo>
                  <a:lnTo>
                    <a:pt x="709433" y="207458"/>
                  </a:lnTo>
                  <a:lnTo>
                    <a:pt x="709433" y="103756"/>
                  </a:lnTo>
                  <a:lnTo>
                    <a:pt x="735372" y="103756"/>
                  </a:lnTo>
                  <a:lnTo>
                    <a:pt x="735372" y="69225"/>
                  </a:lnTo>
                  <a:lnTo>
                    <a:pt x="709433" y="69225"/>
                  </a:lnTo>
                  <a:lnTo>
                    <a:pt x="709433" y="34477"/>
                  </a:lnTo>
                  <a:lnTo>
                    <a:pt x="657555" y="34477"/>
                  </a:lnTo>
                  <a:lnTo>
                    <a:pt x="657555" y="69225"/>
                  </a:lnTo>
                  <a:lnTo>
                    <a:pt x="631561" y="69225"/>
                  </a:lnTo>
                  <a:lnTo>
                    <a:pt x="631561" y="34477"/>
                  </a:lnTo>
                  <a:lnTo>
                    <a:pt x="579737" y="34477"/>
                  </a:lnTo>
                  <a:lnTo>
                    <a:pt x="579737" y="69225"/>
                  </a:lnTo>
                  <a:lnTo>
                    <a:pt x="501650" y="69225"/>
                  </a:lnTo>
                  <a:lnTo>
                    <a:pt x="501650" y="172927"/>
                  </a:lnTo>
                  <a:lnTo>
                    <a:pt x="467173" y="172927"/>
                  </a:lnTo>
                  <a:lnTo>
                    <a:pt x="467173" y="69225"/>
                  </a:lnTo>
                  <a:lnTo>
                    <a:pt x="380547" y="69225"/>
                  </a:lnTo>
                  <a:lnTo>
                    <a:pt x="380547" y="34477"/>
                  </a:lnTo>
                  <a:lnTo>
                    <a:pt x="467173" y="34477"/>
                  </a:lnTo>
                  <a:lnTo>
                    <a:pt x="467173" y="0"/>
                  </a:lnTo>
                  <a:lnTo>
                    <a:pt x="328669" y="0"/>
                  </a:lnTo>
                  <a:close/>
                  <a:moveTo>
                    <a:pt x="899760" y="34477"/>
                  </a:moveTo>
                  <a:lnTo>
                    <a:pt x="951692" y="34477"/>
                  </a:lnTo>
                  <a:lnTo>
                    <a:pt x="951692" y="0"/>
                  </a:lnTo>
                  <a:lnTo>
                    <a:pt x="899760" y="0"/>
                  </a:lnTo>
                  <a:lnTo>
                    <a:pt x="899760" y="34477"/>
                  </a:lnTo>
                  <a:close/>
                </a:path>
              </a:pathLst>
            </a:custGeom>
            <a:grpFill/>
            <a:ln w="538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D9586828-967F-7B99-E066-3FD8BA6DF0E4}"/>
                </a:ext>
              </a:extLst>
            </p:cNvPr>
            <p:cNvSpPr/>
            <p:nvPr/>
          </p:nvSpPr>
          <p:spPr bwMode="black">
            <a:xfrm>
              <a:off x="9951588" y="538699"/>
              <a:ext cx="415348" cy="363146"/>
            </a:xfrm>
            <a:custGeom>
              <a:avLst/>
              <a:gdLst>
                <a:gd name="connsiteX0" fmla="*/ 156175 w 415348"/>
                <a:gd name="connsiteY0" fmla="*/ 155526 h 363146"/>
                <a:gd name="connsiteX1" fmla="*/ 207782 w 415348"/>
                <a:gd name="connsiteY1" fmla="*/ 103864 h 363146"/>
                <a:gd name="connsiteX2" fmla="*/ 259390 w 415348"/>
                <a:gd name="connsiteY2" fmla="*/ 155526 h 363146"/>
                <a:gd name="connsiteX3" fmla="*/ 207782 w 415348"/>
                <a:gd name="connsiteY3" fmla="*/ 207296 h 363146"/>
                <a:gd name="connsiteX4" fmla="*/ 156175 w 415348"/>
                <a:gd name="connsiteY4" fmla="*/ 155526 h 363146"/>
                <a:gd name="connsiteX5" fmla="*/ 207782 w 415348"/>
                <a:gd name="connsiteY5" fmla="*/ 0 h 363146"/>
                <a:gd name="connsiteX6" fmla="*/ 0 w 415348"/>
                <a:gd name="connsiteY6" fmla="*/ 207350 h 363146"/>
                <a:gd name="connsiteX7" fmla="*/ 51986 w 415348"/>
                <a:gd name="connsiteY7" fmla="*/ 259228 h 363146"/>
                <a:gd name="connsiteX8" fmla="*/ 104134 w 415348"/>
                <a:gd name="connsiteY8" fmla="*/ 207512 h 363146"/>
                <a:gd name="connsiteX9" fmla="*/ 155904 w 415348"/>
                <a:gd name="connsiteY9" fmla="*/ 259499 h 363146"/>
                <a:gd name="connsiteX10" fmla="*/ 103810 w 415348"/>
                <a:gd name="connsiteY10" fmla="*/ 311593 h 363146"/>
                <a:gd name="connsiteX11" fmla="*/ 155904 w 415348"/>
                <a:gd name="connsiteY11" fmla="*/ 363147 h 363146"/>
                <a:gd name="connsiteX12" fmla="*/ 206810 w 415348"/>
                <a:gd name="connsiteY12" fmla="*/ 311431 h 363146"/>
                <a:gd name="connsiteX13" fmla="*/ 259823 w 415348"/>
                <a:gd name="connsiteY13" fmla="*/ 363147 h 363146"/>
                <a:gd name="connsiteX14" fmla="*/ 311485 w 415348"/>
                <a:gd name="connsiteY14" fmla="*/ 311431 h 363146"/>
                <a:gd name="connsiteX15" fmla="*/ 259823 w 415348"/>
                <a:gd name="connsiteY15" fmla="*/ 259769 h 363146"/>
                <a:gd name="connsiteX16" fmla="*/ 312025 w 415348"/>
                <a:gd name="connsiteY16" fmla="*/ 207512 h 363146"/>
                <a:gd name="connsiteX17" fmla="*/ 363633 w 415348"/>
                <a:gd name="connsiteY17" fmla="*/ 259228 h 363146"/>
                <a:gd name="connsiteX18" fmla="*/ 415349 w 415348"/>
                <a:gd name="connsiteY18" fmla="*/ 207512 h 363146"/>
                <a:gd name="connsiteX19" fmla="*/ 207782 w 415348"/>
                <a:gd name="connsiteY19" fmla="*/ 0 h 3631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415348" h="363146">
                  <a:moveTo>
                    <a:pt x="156175" y="155526"/>
                  </a:moveTo>
                  <a:lnTo>
                    <a:pt x="207782" y="103864"/>
                  </a:lnTo>
                  <a:lnTo>
                    <a:pt x="259390" y="155526"/>
                  </a:lnTo>
                  <a:lnTo>
                    <a:pt x="207782" y="207296"/>
                  </a:lnTo>
                  <a:lnTo>
                    <a:pt x="156175" y="155526"/>
                  </a:lnTo>
                  <a:close/>
                  <a:moveTo>
                    <a:pt x="207782" y="0"/>
                  </a:moveTo>
                  <a:lnTo>
                    <a:pt x="0" y="207350"/>
                  </a:lnTo>
                  <a:lnTo>
                    <a:pt x="51986" y="259228"/>
                  </a:lnTo>
                  <a:lnTo>
                    <a:pt x="104134" y="207512"/>
                  </a:lnTo>
                  <a:lnTo>
                    <a:pt x="155904" y="259499"/>
                  </a:lnTo>
                  <a:lnTo>
                    <a:pt x="103810" y="311593"/>
                  </a:lnTo>
                  <a:lnTo>
                    <a:pt x="155904" y="363147"/>
                  </a:lnTo>
                  <a:lnTo>
                    <a:pt x="206810" y="311431"/>
                  </a:lnTo>
                  <a:lnTo>
                    <a:pt x="259823" y="363147"/>
                  </a:lnTo>
                  <a:lnTo>
                    <a:pt x="311485" y="311431"/>
                  </a:lnTo>
                  <a:lnTo>
                    <a:pt x="259823" y="259769"/>
                  </a:lnTo>
                  <a:lnTo>
                    <a:pt x="312025" y="207512"/>
                  </a:lnTo>
                  <a:lnTo>
                    <a:pt x="363633" y="259228"/>
                  </a:lnTo>
                  <a:lnTo>
                    <a:pt x="415349" y="207512"/>
                  </a:lnTo>
                  <a:lnTo>
                    <a:pt x="207782" y="0"/>
                  </a:lnTo>
                  <a:close/>
                </a:path>
              </a:pathLst>
            </a:custGeom>
            <a:solidFill>
              <a:schemeClr val="accent2"/>
            </a:solidFill>
            <a:ln w="538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64264954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27" userDrawn="1">
          <p15:clr>
            <a:srgbClr val="FBAE40"/>
          </p15:clr>
        </p15:guide>
        <p15:guide id="3" pos="3840" userDrawn="1">
          <p15:clr>
            <a:srgbClr val="FBAE40"/>
          </p15:clr>
        </p15:guide>
        <p15:guide id="4" pos="4065" userDrawn="1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image Slide_dark_1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8C7B99DC-6A49-AA7B-C884-F03DC6C439D0}"/>
              </a:ext>
            </a:extLst>
          </p:cNvPr>
          <p:cNvSpPr/>
          <p:nvPr userDrawn="1"/>
        </p:nvSpPr>
        <p:spPr>
          <a:xfrm>
            <a:off x="10470746" y="642617"/>
            <a:ext cx="1185143" cy="207458"/>
          </a:xfrm>
          <a:custGeom>
            <a:avLst/>
            <a:gdLst>
              <a:gd name="connsiteX0" fmla="*/ 259606 w 1185143"/>
              <a:gd name="connsiteY0" fmla="*/ 138234 h 207458"/>
              <a:gd name="connsiteX1" fmla="*/ 311539 w 1185143"/>
              <a:gd name="connsiteY1" fmla="*/ 138234 h 207458"/>
              <a:gd name="connsiteX2" fmla="*/ 311539 w 1185143"/>
              <a:gd name="connsiteY2" fmla="*/ 103486 h 207458"/>
              <a:gd name="connsiteX3" fmla="*/ 259606 w 1185143"/>
              <a:gd name="connsiteY3" fmla="*/ 103486 h 207458"/>
              <a:gd name="connsiteX4" fmla="*/ 259606 w 1185143"/>
              <a:gd name="connsiteY4" fmla="*/ 138234 h 207458"/>
              <a:gd name="connsiteX5" fmla="*/ 787196 w 1185143"/>
              <a:gd name="connsiteY5" fmla="*/ 103756 h 207458"/>
              <a:gd name="connsiteX6" fmla="*/ 821943 w 1185143"/>
              <a:gd name="connsiteY6" fmla="*/ 103756 h 207458"/>
              <a:gd name="connsiteX7" fmla="*/ 821943 w 1185143"/>
              <a:gd name="connsiteY7" fmla="*/ 172981 h 207458"/>
              <a:gd name="connsiteX8" fmla="*/ 787196 w 1185143"/>
              <a:gd name="connsiteY8" fmla="*/ 172981 h 207458"/>
              <a:gd name="connsiteX9" fmla="*/ 787196 w 1185143"/>
              <a:gd name="connsiteY9" fmla="*/ 103756 h 207458"/>
              <a:gd name="connsiteX10" fmla="*/ 752718 w 1185143"/>
              <a:gd name="connsiteY10" fmla="*/ 69225 h 207458"/>
              <a:gd name="connsiteX11" fmla="*/ 735318 w 1185143"/>
              <a:gd name="connsiteY11" fmla="*/ 103756 h 207458"/>
              <a:gd name="connsiteX12" fmla="*/ 735318 w 1185143"/>
              <a:gd name="connsiteY12" fmla="*/ 172981 h 207458"/>
              <a:gd name="connsiteX13" fmla="*/ 752718 w 1185143"/>
              <a:gd name="connsiteY13" fmla="*/ 207458 h 207458"/>
              <a:gd name="connsiteX14" fmla="*/ 873821 w 1185143"/>
              <a:gd name="connsiteY14" fmla="*/ 207458 h 207458"/>
              <a:gd name="connsiteX15" fmla="*/ 873821 w 1185143"/>
              <a:gd name="connsiteY15" fmla="*/ 69225 h 207458"/>
              <a:gd name="connsiteX16" fmla="*/ 752718 w 1185143"/>
              <a:gd name="connsiteY16" fmla="*/ 69225 h 207458"/>
              <a:gd name="connsiteX17" fmla="*/ 977577 w 1185143"/>
              <a:gd name="connsiteY17" fmla="*/ 69225 h 207458"/>
              <a:gd name="connsiteX18" fmla="*/ 977577 w 1185143"/>
              <a:gd name="connsiteY18" fmla="*/ 207458 h 207458"/>
              <a:gd name="connsiteX19" fmla="*/ 1029455 w 1185143"/>
              <a:gd name="connsiteY19" fmla="*/ 207458 h 207458"/>
              <a:gd name="connsiteX20" fmla="*/ 1029455 w 1185143"/>
              <a:gd name="connsiteY20" fmla="*/ 103756 h 207458"/>
              <a:gd name="connsiteX21" fmla="*/ 1055394 w 1185143"/>
              <a:gd name="connsiteY21" fmla="*/ 103756 h 207458"/>
              <a:gd name="connsiteX22" fmla="*/ 1055394 w 1185143"/>
              <a:gd name="connsiteY22" fmla="*/ 207458 h 207458"/>
              <a:gd name="connsiteX23" fmla="*/ 1107273 w 1185143"/>
              <a:gd name="connsiteY23" fmla="*/ 207458 h 207458"/>
              <a:gd name="connsiteX24" fmla="*/ 1107273 w 1185143"/>
              <a:gd name="connsiteY24" fmla="*/ 103756 h 207458"/>
              <a:gd name="connsiteX25" fmla="*/ 1133266 w 1185143"/>
              <a:gd name="connsiteY25" fmla="*/ 103756 h 207458"/>
              <a:gd name="connsiteX26" fmla="*/ 1133266 w 1185143"/>
              <a:gd name="connsiteY26" fmla="*/ 207458 h 207458"/>
              <a:gd name="connsiteX27" fmla="*/ 1185144 w 1185143"/>
              <a:gd name="connsiteY27" fmla="*/ 207458 h 207458"/>
              <a:gd name="connsiteX28" fmla="*/ 1185144 w 1185143"/>
              <a:gd name="connsiteY28" fmla="*/ 103756 h 207458"/>
              <a:gd name="connsiteX29" fmla="*/ 1168013 w 1185143"/>
              <a:gd name="connsiteY29" fmla="*/ 69225 h 207458"/>
              <a:gd name="connsiteX30" fmla="*/ 977631 w 1185143"/>
              <a:gd name="connsiteY30" fmla="*/ 69225 h 207458"/>
              <a:gd name="connsiteX31" fmla="*/ 899760 w 1185143"/>
              <a:gd name="connsiteY31" fmla="*/ 207458 h 207458"/>
              <a:gd name="connsiteX32" fmla="*/ 951692 w 1185143"/>
              <a:gd name="connsiteY32" fmla="*/ 207458 h 207458"/>
              <a:gd name="connsiteX33" fmla="*/ 951692 w 1185143"/>
              <a:gd name="connsiteY33" fmla="*/ 69225 h 207458"/>
              <a:gd name="connsiteX34" fmla="*/ 899760 w 1185143"/>
              <a:gd name="connsiteY34" fmla="*/ 69009 h 207458"/>
              <a:gd name="connsiteX35" fmla="*/ 899760 w 1185143"/>
              <a:gd name="connsiteY35" fmla="*/ 207458 h 207458"/>
              <a:gd name="connsiteX36" fmla="*/ 112565 w 1185143"/>
              <a:gd name="connsiteY36" fmla="*/ 34477 h 207458"/>
              <a:gd name="connsiteX37" fmla="*/ 112565 w 1185143"/>
              <a:gd name="connsiteY37" fmla="*/ 103756 h 207458"/>
              <a:gd name="connsiteX38" fmla="*/ 86355 w 1185143"/>
              <a:gd name="connsiteY38" fmla="*/ 103756 h 207458"/>
              <a:gd name="connsiteX39" fmla="*/ 112565 w 1185143"/>
              <a:gd name="connsiteY39" fmla="*/ 34477 h 207458"/>
              <a:gd name="connsiteX40" fmla="*/ 69225 w 1185143"/>
              <a:gd name="connsiteY40" fmla="*/ 0 h 207458"/>
              <a:gd name="connsiteX41" fmla="*/ 0 w 1185143"/>
              <a:gd name="connsiteY41" fmla="*/ 207458 h 207458"/>
              <a:gd name="connsiteX42" fmla="*/ 51878 w 1185143"/>
              <a:gd name="connsiteY42" fmla="*/ 207458 h 207458"/>
              <a:gd name="connsiteX43" fmla="*/ 77817 w 1185143"/>
              <a:gd name="connsiteY43" fmla="*/ 138450 h 207458"/>
              <a:gd name="connsiteX44" fmla="*/ 112565 w 1185143"/>
              <a:gd name="connsiteY44" fmla="*/ 138450 h 207458"/>
              <a:gd name="connsiteX45" fmla="*/ 112565 w 1185143"/>
              <a:gd name="connsiteY45" fmla="*/ 207458 h 207458"/>
              <a:gd name="connsiteX46" fmla="*/ 164443 w 1185143"/>
              <a:gd name="connsiteY46" fmla="*/ 207458 h 207458"/>
              <a:gd name="connsiteX47" fmla="*/ 164443 w 1185143"/>
              <a:gd name="connsiteY47" fmla="*/ 0 h 207458"/>
              <a:gd name="connsiteX48" fmla="*/ 69225 w 1185143"/>
              <a:gd name="connsiteY48" fmla="*/ 0 h 207458"/>
              <a:gd name="connsiteX49" fmla="*/ 190328 w 1185143"/>
              <a:gd name="connsiteY49" fmla="*/ 207458 h 207458"/>
              <a:gd name="connsiteX50" fmla="*/ 242206 w 1185143"/>
              <a:gd name="connsiteY50" fmla="*/ 207458 h 207458"/>
              <a:gd name="connsiteX51" fmla="*/ 242206 w 1185143"/>
              <a:gd name="connsiteY51" fmla="*/ 0 h 207458"/>
              <a:gd name="connsiteX52" fmla="*/ 190328 w 1185143"/>
              <a:gd name="connsiteY52" fmla="*/ 0 h 207458"/>
              <a:gd name="connsiteX53" fmla="*/ 190328 w 1185143"/>
              <a:gd name="connsiteY53" fmla="*/ 207458 h 207458"/>
              <a:gd name="connsiteX54" fmla="*/ 328615 w 1185143"/>
              <a:gd name="connsiteY54" fmla="*/ 0 h 207458"/>
              <a:gd name="connsiteX55" fmla="*/ 328615 w 1185143"/>
              <a:gd name="connsiteY55" fmla="*/ 207458 h 207458"/>
              <a:gd name="connsiteX56" fmla="*/ 380493 w 1185143"/>
              <a:gd name="connsiteY56" fmla="*/ 207458 h 207458"/>
              <a:gd name="connsiteX57" fmla="*/ 380493 w 1185143"/>
              <a:gd name="connsiteY57" fmla="*/ 103756 h 207458"/>
              <a:gd name="connsiteX58" fmla="*/ 415295 w 1185143"/>
              <a:gd name="connsiteY58" fmla="*/ 103756 h 207458"/>
              <a:gd name="connsiteX59" fmla="*/ 415295 w 1185143"/>
              <a:gd name="connsiteY59" fmla="*/ 172981 h 207458"/>
              <a:gd name="connsiteX60" fmla="*/ 432641 w 1185143"/>
              <a:gd name="connsiteY60" fmla="*/ 207458 h 207458"/>
              <a:gd name="connsiteX61" fmla="*/ 553798 w 1185143"/>
              <a:gd name="connsiteY61" fmla="*/ 207458 h 207458"/>
              <a:gd name="connsiteX62" fmla="*/ 553798 w 1185143"/>
              <a:gd name="connsiteY62" fmla="*/ 103756 h 207458"/>
              <a:gd name="connsiteX63" fmla="*/ 579737 w 1185143"/>
              <a:gd name="connsiteY63" fmla="*/ 103756 h 207458"/>
              <a:gd name="connsiteX64" fmla="*/ 579737 w 1185143"/>
              <a:gd name="connsiteY64" fmla="*/ 207458 h 207458"/>
              <a:gd name="connsiteX65" fmla="*/ 631561 w 1185143"/>
              <a:gd name="connsiteY65" fmla="*/ 207458 h 207458"/>
              <a:gd name="connsiteX66" fmla="*/ 631561 w 1185143"/>
              <a:gd name="connsiteY66" fmla="*/ 103756 h 207458"/>
              <a:gd name="connsiteX67" fmla="*/ 657555 w 1185143"/>
              <a:gd name="connsiteY67" fmla="*/ 103756 h 207458"/>
              <a:gd name="connsiteX68" fmla="*/ 657555 w 1185143"/>
              <a:gd name="connsiteY68" fmla="*/ 207458 h 207458"/>
              <a:gd name="connsiteX69" fmla="*/ 709433 w 1185143"/>
              <a:gd name="connsiteY69" fmla="*/ 207458 h 207458"/>
              <a:gd name="connsiteX70" fmla="*/ 709433 w 1185143"/>
              <a:gd name="connsiteY70" fmla="*/ 103756 h 207458"/>
              <a:gd name="connsiteX71" fmla="*/ 735372 w 1185143"/>
              <a:gd name="connsiteY71" fmla="*/ 103756 h 207458"/>
              <a:gd name="connsiteX72" fmla="*/ 735372 w 1185143"/>
              <a:gd name="connsiteY72" fmla="*/ 69225 h 207458"/>
              <a:gd name="connsiteX73" fmla="*/ 709433 w 1185143"/>
              <a:gd name="connsiteY73" fmla="*/ 69225 h 207458"/>
              <a:gd name="connsiteX74" fmla="*/ 709433 w 1185143"/>
              <a:gd name="connsiteY74" fmla="*/ 34477 h 207458"/>
              <a:gd name="connsiteX75" fmla="*/ 657555 w 1185143"/>
              <a:gd name="connsiteY75" fmla="*/ 34477 h 207458"/>
              <a:gd name="connsiteX76" fmla="*/ 657555 w 1185143"/>
              <a:gd name="connsiteY76" fmla="*/ 69225 h 207458"/>
              <a:gd name="connsiteX77" fmla="*/ 631561 w 1185143"/>
              <a:gd name="connsiteY77" fmla="*/ 69225 h 207458"/>
              <a:gd name="connsiteX78" fmla="*/ 631561 w 1185143"/>
              <a:gd name="connsiteY78" fmla="*/ 34477 h 207458"/>
              <a:gd name="connsiteX79" fmla="*/ 579737 w 1185143"/>
              <a:gd name="connsiteY79" fmla="*/ 34477 h 207458"/>
              <a:gd name="connsiteX80" fmla="*/ 579737 w 1185143"/>
              <a:gd name="connsiteY80" fmla="*/ 69225 h 207458"/>
              <a:gd name="connsiteX81" fmla="*/ 501650 w 1185143"/>
              <a:gd name="connsiteY81" fmla="*/ 69225 h 207458"/>
              <a:gd name="connsiteX82" fmla="*/ 501650 w 1185143"/>
              <a:gd name="connsiteY82" fmla="*/ 172927 h 207458"/>
              <a:gd name="connsiteX83" fmla="*/ 467173 w 1185143"/>
              <a:gd name="connsiteY83" fmla="*/ 172927 h 207458"/>
              <a:gd name="connsiteX84" fmla="*/ 467173 w 1185143"/>
              <a:gd name="connsiteY84" fmla="*/ 69225 h 207458"/>
              <a:gd name="connsiteX85" fmla="*/ 380547 w 1185143"/>
              <a:gd name="connsiteY85" fmla="*/ 69225 h 207458"/>
              <a:gd name="connsiteX86" fmla="*/ 380547 w 1185143"/>
              <a:gd name="connsiteY86" fmla="*/ 34477 h 207458"/>
              <a:gd name="connsiteX87" fmla="*/ 467173 w 1185143"/>
              <a:gd name="connsiteY87" fmla="*/ 34477 h 207458"/>
              <a:gd name="connsiteX88" fmla="*/ 467173 w 1185143"/>
              <a:gd name="connsiteY88" fmla="*/ 0 h 207458"/>
              <a:gd name="connsiteX89" fmla="*/ 328669 w 1185143"/>
              <a:gd name="connsiteY89" fmla="*/ 0 h 207458"/>
              <a:gd name="connsiteX90" fmla="*/ 899760 w 1185143"/>
              <a:gd name="connsiteY90" fmla="*/ 34477 h 207458"/>
              <a:gd name="connsiteX91" fmla="*/ 951692 w 1185143"/>
              <a:gd name="connsiteY91" fmla="*/ 34477 h 207458"/>
              <a:gd name="connsiteX92" fmla="*/ 951692 w 1185143"/>
              <a:gd name="connsiteY92" fmla="*/ 0 h 207458"/>
              <a:gd name="connsiteX93" fmla="*/ 899760 w 1185143"/>
              <a:gd name="connsiteY93" fmla="*/ 0 h 207458"/>
              <a:gd name="connsiteX94" fmla="*/ 899760 w 1185143"/>
              <a:gd name="connsiteY94" fmla="*/ 34477 h 2074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</a:cxnLst>
            <a:rect l="l" t="t" r="r" b="b"/>
            <a:pathLst>
              <a:path w="1185143" h="207458">
                <a:moveTo>
                  <a:pt x="259606" y="138234"/>
                </a:moveTo>
                <a:lnTo>
                  <a:pt x="311539" y="138234"/>
                </a:lnTo>
                <a:lnTo>
                  <a:pt x="311539" y="103486"/>
                </a:lnTo>
                <a:lnTo>
                  <a:pt x="259606" y="103486"/>
                </a:lnTo>
                <a:lnTo>
                  <a:pt x="259606" y="138234"/>
                </a:lnTo>
                <a:close/>
                <a:moveTo>
                  <a:pt x="787196" y="103756"/>
                </a:moveTo>
                <a:lnTo>
                  <a:pt x="821943" y="103756"/>
                </a:lnTo>
                <a:lnTo>
                  <a:pt x="821943" y="172981"/>
                </a:lnTo>
                <a:lnTo>
                  <a:pt x="787196" y="172981"/>
                </a:lnTo>
                <a:lnTo>
                  <a:pt x="787196" y="103756"/>
                </a:lnTo>
                <a:close/>
                <a:moveTo>
                  <a:pt x="752718" y="69225"/>
                </a:moveTo>
                <a:lnTo>
                  <a:pt x="735318" y="103756"/>
                </a:lnTo>
                <a:lnTo>
                  <a:pt x="735318" y="172981"/>
                </a:lnTo>
                <a:lnTo>
                  <a:pt x="752718" y="207458"/>
                </a:lnTo>
                <a:lnTo>
                  <a:pt x="873821" y="207458"/>
                </a:lnTo>
                <a:lnTo>
                  <a:pt x="873821" y="69225"/>
                </a:lnTo>
                <a:lnTo>
                  <a:pt x="752718" y="69225"/>
                </a:lnTo>
                <a:close/>
                <a:moveTo>
                  <a:pt x="977577" y="69225"/>
                </a:moveTo>
                <a:lnTo>
                  <a:pt x="977577" y="207458"/>
                </a:lnTo>
                <a:lnTo>
                  <a:pt x="1029455" y="207458"/>
                </a:lnTo>
                <a:lnTo>
                  <a:pt x="1029455" y="103756"/>
                </a:lnTo>
                <a:lnTo>
                  <a:pt x="1055394" y="103756"/>
                </a:lnTo>
                <a:lnTo>
                  <a:pt x="1055394" y="207458"/>
                </a:lnTo>
                <a:lnTo>
                  <a:pt x="1107273" y="207458"/>
                </a:lnTo>
                <a:lnTo>
                  <a:pt x="1107273" y="103756"/>
                </a:lnTo>
                <a:lnTo>
                  <a:pt x="1133266" y="103756"/>
                </a:lnTo>
                <a:lnTo>
                  <a:pt x="1133266" y="207458"/>
                </a:lnTo>
                <a:lnTo>
                  <a:pt x="1185144" y="207458"/>
                </a:lnTo>
                <a:lnTo>
                  <a:pt x="1185144" y="103756"/>
                </a:lnTo>
                <a:lnTo>
                  <a:pt x="1168013" y="69225"/>
                </a:lnTo>
                <a:lnTo>
                  <a:pt x="977631" y="69225"/>
                </a:lnTo>
                <a:close/>
                <a:moveTo>
                  <a:pt x="899760" y="207458"/>
                </a:moveTo>
                <a:lnTo>
                  <a:pt x="951692" y="207458"/>
                </a:lnTo>
                <a:lnTo>
                  <a:pt x="951692" y="69225"/>
                </a:lnTo>
                <a:lnTo>
                  <a:pt x="899760" y="69009"/>
                </a:lnTo>
                <a:lnTo>
                  <a:pt x="899760" y="207458"/>
                </a:lnTo>
                <a:close/>
                <a:moveTo>
                  <a:pt x="112565" y="34477"/>
                </a:moveTo>
                <a:lnTo>
                  <a:pt x="112565" y="103756"/>
                </a:lnTo>
                <a:lnTo>
                  <a:pt x="86355" y="103756"/>
                </a:lnTo>
                <a:lnTo>
                  <a:pt x="112565" y="34477"/>
                </a:lnTo>
                <a:close/>
                <a:moveTo>
                  <a:pt x="69225" y="0"/>
                </a:moveTo>
                <a:lnTo>
                  <a:pt x="0" y="207458"/>
                </a:lnTo>
                <a:lnTo>
                  <a:pt x="51878" y="207458"/>
                </a:lnTo>
                <a:lnTo>
                  <a:pt x="77817" y="138450"/>
                </a:lnTo>
                <a:lnTo>
                  <a:pt x="112565" y="138450"/>
                </a:lnTo>
                <a:lnTo>
                  <a:pt x="112565" y="207458"/>
                </a:lnTo>
                <a:lnTo>
                  <a:pt x="164443" y="207458"/>
                </a:lnTo>
                <a:lnTo>
                  <a:pt x="164443" y="0"/>
                </a:lnTo>
                <a:lnTo>
                  <a:pt x="69225" y="0"/>
                </a:lnTo>
                <a:close/>
                <a:moveTo>
                  <a:pt x="190328" y="207458"/>
                </a:moveTo>
                <a:lnTo>
                  <a:pt x="242206" y="207458"/>
                </a:lnTo>
                <a:lnTo>
                  <a:pt x="242206" y="0"/>
                </a:lnTo>
                <a:lnTo>
                  <a:pt x="190328" y="0"/>
                </a:lnTo>
                <a:lnTo>
                  <a:pt x="190328" y="207458"/>
                </a:lnTo>
                <a:close/>
                <a:moveTo>
                  <a:pt x="328615" y="0"/>
                </a:moveTo>
                <a:lnTo>
                  <a:pt x="328615" y="207458"/>
                </a:lnTo>
                <a:lnTo>
                  <a:pt x="380493" y="207458"/>
                </a:lnTo>
                <a:lnTo>
                  <a:pt x="380493" y="103756"/>
                </a:lnTo>
                <a:lnTo>
                  <a:pt x="415295" y="103756"/>
                </a:lnTo>
                <a:lnTo>
                  <a:pt x="415295" y="172981"/>
                </a:lnTo>
                <a:lnTo>
                  <a:pt x="432641" y="207458"/>
                </a:lnTo>
                <a:lnTo>
                  <a:pt x="553798" y="207458"/>
                </a:lnTo>
                <a:lnTo>
                  <a:pt x="553798" y="103756"/>
                </a:lnTo>
                <a:lnTo>
                  <a:pt x="579737" y="103756"/>
                </a:lnTo>
                <a:lnTo>
                  <a:pt x="579737" y="207458"/>
                </a:lnTo>
                <a:lnTo>
                  <a:pt x="631561" y="207458"/>
                </a:lnTo>
                <a:lnTo>
                  <a:pt x="631561" y="103756"/>
                </a:lnTo>
                <a:lnTo>
                  <a:pt x="657555" y="103756"/>
                </a:lnTo>
                <a:lnTo>
                  <a:pt x="657555" y="207458"/>
                </a:lnTo>
                <a:lnTo>
                  <a:pt x="709433" y="207458"/>
                </a:lnTo>
                <a:lnTo>
                  <a:pt x="709433" y="103756"/>
                </a:lnTo>
                <a:lnTo>
                  <a:pt x="735372" y="103756"/>
                </a:lnTo>
                <a:lnTo>
                  <a:pt x="735372" y="69225"/>
                </a:lnTo>
                <a:lnTo>
                  <a:pt x="709433" y="69225"/>
                </a:lnTo>
                <a:lnTo>
                  <a:pt x="709433" y="34477"/>
                </a:lnTo>
                <a:lnTo>
                  <a:pt x="657555" y="34477"/>
                </a:lnTo>
                <a:lnTo>
                  <a:pt x="657555" y="69225"/>
                </a:lnTo>
                <a:lnTo>
                  <a:pt x="631561" y="69225"/>
                </a:lnTo>
                <a:lnTo>
                  <a:pt x="631561" y="34477"/>
                </a:lnTo>
                <a:lnTo>
                  <a:pt x="579737" y="34477"/>
                </a:lnTo>
                <a:lnTo>
                  <a:pt x="579737" y="69225"/>
                </a:lnTo>
                <a:lnTo>
                  <a:pt x="501650" y="69225"/>
                </a:lnTo>
                <a:lnTo>
                  <a:pt x="501650" y="172927"/>
                </a:lnTo>
                <a:lnTo>
                  <a:pt x="467173" y="172927"/>
                </a:lnTo>
                <a:lnTo>
                  <a:pt x="467173" y="69225"/>
                </a:lnTo>
                <a:lnTo>
                  <a:pt x="380547" y="69225"/>
                </a:lnTo>
                <a:lnTo>
                  <a:pt x="380547" y="34477"/>
                </a:lnTo>
                <a:lnTo>
                  <a:pt x="467173" y="34477"/>
                </a:lnTo>
                <a:lnTo>
                  <a:pt x="467173" y="0"/>
                </a:lnTo>
                <a:lnTo>
                  <a:pt x="328669" y="0"/>
                </a:lnTo>
                <a:close/>
                <a:moveTo>
                  <a:pt x="899760" y="34477"/>
                </a:moveTo>
                <a:lnTo>
                  <a:pt x="951692" y="34477"/>
                </a:lnTo>
                <a:lnTo>
                  <a:pt x="951692" y="0"/>
                </a:lnTo>
                <a:lnTo>
                  <a:pt x="899760" y="0"/>
                </a:lnTo>
                <a:lnTo>
                  <a:pt x="899760" y="34477"/>
                </a:lnTo>
                <a:close/>
              </a:path>
            </a:pathLst>
          </a:custGeom>
          <a:solidFill>
            <a:schemeClr val="bg1"/>
          </a:solidFill>
          <a:ln w="5382" cap="flat">
            <a:noFill/>
            <a:prstDash val="solid"/>
            <a:miter/>
          </a:ln>
        </p:spPr>
        <p:txBody>
          <a:bodyPr rtlCol="0" anchor="ctr"/>
          <a:lstStyle/>
          <a:p>
            <a:endParaRPr lang="en-US" dirty="0"/>
          </a:p>
        </p:txBody>
      </p:sp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2C9D9692-48C7-DABD-E24B-9748091E3AED}"/>
              </a:ext>
            </a:extLst>
          </p:cNvPr>
          <p:cNvSpPr/>
          <p:nvPr userDrawn="1"/>
        </p:nvSpPr>
        <p:spPr>
          <a:xfrm>
            <a:off x="9951588" y="538699"/>
            <a:ext cx="415348" cy="363146"/>
          </a:xfrm>
          <a:custGeom>
            <a:avLst/>
            <a:gdLst>
              <a:gd name="connsiteX0" fmla="*/ 156175 w 415348"/>
              <a:gd name="connsiteY0" fmla="*/ 155526 h 363146"/>
              <a:gd name="connsiteX1" fmla="*/ 207782 w 415348"/>
              <a:gd name="connsiteY1" fmla="*/ 103864 h 363146"/>
              <a:gd name="connsiteX2" fmla="*/ 259390 w 415348"/>
              <a:gd name="connsiteY2" fmla="*/ 155526 h 363146"/>
              <a:gd name="connsiteX3" fmla="*/ 207782 w 415348"/>
              <a:gd name="connsiteY3" fmla="*/ 207296 h 363146"/>
              <a:gd name="connsiteX4" fmla="*/ 156175 w 415348"/>
              <a:gd name="connsiteY4" fmla="*/ 155526 h 363146"/>
              <a:gd name="connsiteX5" fmla="*/ 207782 w 415348"/>
              <a:gd name="connsiteY5" fmla="*/ 0 h 363146"/>
              <a:gd name="connsiteX6" fmla="*/ 0 w 415348"/>
              <a:gd name="connsiteY6" fmla="*/ 207350 h 363146"/>
              <a:gd name="connsiteX7" fmla="*/ 51986 w 415348"/>
              <a:gd name="connsiteY7" fmla="*/ 259228 h 363146"/>
              <a:gd name="connsiteX8" fmla="*/ 104134 w 415348"/>
              <a:gd name="connsiteY8" fmla="*/ 207512 h 363146"/>
              <a:gd name="connsiteX9" fmla="*/ 155904 w 415348"/>
              <a:gd name="connsiteY9" fmla="*/ 259499 h 363146"/>
              <a:gd name="connsiteX10" fmla="*/ 103810 w 415348"/>
              <a:gd name="connsiteY10" fmla="*/ 311593 h 363146"/>
              <a:gd name="connsiteX11" fmla="*/ 155904 w 415348"/>
              <a:gd name="connsiteY11" fmla="*/ 363147 h 363146"/>
              <a:gd name="connsiteX12" fmla="*/ 206810 w 415348"/>
              <a:gd name="connsiteY12" fmla="*/ 311431 h 363146"/>
              <a:gd name="connsiteX13" fmla="*/ 259823 w 415348"/>
              <a:gd name="connsiteY13" fmla="*/ 363147 h 363146"/>
              <a:gd name="connsiteX14" fmla="*/ 311485 w 415348"/>
              <a:gd name="connsiteY14" fmla="*/ 311431 h 363146"/>
              <a:gd name="connsiteX15" fmla="*/ 259823 w 415348"/>
              <a:gd name="connsiteY15" fmla="*/ 259769 h 363146"/>
              <a:gd name="connsiteX16" fmla="*/ 312025 w 415348"/>
              <a:gd name="connsiteY16" fmla="*/ 207512 h 363146"/>
              <a:gd name="connsiteX17" fmla="*/ 363633 w 415348"/>
              <a:gd name="connsiteY17" fmla="*/ 259228 h 363146"/>
              <a:gd name="connsiteX18" fmla="*/ 415349 w 415348"/>
              <a:gd name="connsiteY18" fmla="*/ 207512 h 363146"/>
              <a:gd name="connsiteX19" fmla="*/ 207782 w 415348"/>
              <a:gd name="connsiteY19" fmla="*/ 0 h 3631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415348" h="363146">
                <a:moveTo>
                  <a:pt x="156175" y="155526"/>
                </a:moveTo>
                <a:lnTo>
                  <a:pt x="207782" y="103864"/>
                </a:lnTo>
                <a:lnTo>
                  <a:pt x="259390" y="155526"/>
                </a:lnTo>
                <a:lnTo>
                  <a:pt x="207782" y="207296"/>
                </a:lnTo>
                <a:lnTo>
                  <a:pt x="156175" y="155526"/>
                </a:lnTo>
                <a:close/>
                <a:moveTo>
                  <a:pt x="207782" y="0"/>
                </a:moveTo>
                <a:lnTo>
                  <a:pt x="0" y="207350"/>
                </a:lnTo>
                <a:lnTo>
                  <a:pt x="51986" y="259228"/>
                </a:lnTo>
                <a:lnTo>
                  <a:pt x="104134" y="207512"/>
                </a:lnTo>
                <a:lnTo>
                  <a:pt x="155904" y="259499"/>
                </a:lnTo>
                <a:lnTo>
                  <a:pt x="103810" y="311593"/>
                </a:lnTo>
                <a:lnTo>
                  <a:pt x="155904" y="363147"/>
                </a:lnTo>
                <a:lnTo>
                  <a:pt x="206810" y="311431"/>
                </a:lnTo>
                <a:lnTo>
                  <a:pt x="259823" y="363147"/>
                </a:lnTo>
                <a:lnTo>
                  <a:pt x="311485" y="311431"/>
                </a:lnTo>
                <a:lnTo>
                  <a:pt x="259823" y="259769"/>
                </a:lnTo>
                <a:lnTo>
                  <a:pt x="312025" y="207512"/>
                </a:lnTo>
                <a:lnTo>
                  <a:pt x="363633" y="259228"/>
                </a:lnTo>
                <a:lnTo>
                  <a:pt x="415349" y="207512"/>
                </a:lnTo>
                <a:lnTo>
                  <a:pt x="207782" y="0"/>
                </a:lnTo>
                <a:close/>
              </a:path>
            </a:pathLst>
          </a:custGeom>
          <a:solidFill>
            <a:schemeClr val="accent2"/>
          </a:solidFill>
          <a:ln w="5382" cap="flat">
            <a:noFill/>
            <a:prstDash val="solid"/>
            <a:miter/>
          </a:ln>
        </p:spPr>
        <p:txBody>
          <a:bodyPr rtlCol="0" anchor="ctr"/>
          <a:lstStyle/>
          <a:p>
            <a:endParaRPr lang="en-US" dirty="0"/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D3A519CC-A663-F358-9865-6872EB7A1873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11257942 w 12192000"/>
              <a:gd name="connsiteY0" fmla="*/ 746373 h 6858000"/>
              <a:gd name="connsiteX1" fmla="*/ 11292689 w 12192000"/>
              <a:gd name="connsiteY1" fmla="*/ 746373 h 6858000"/>
              <a:gd name="connsiteX2" fmla="*/ 11292689 w 12192000"/>
              <a:gd name="connsiteY2" fmla="*/ 815598 h 6858000"/>
              <a:gd name="connsiteX3" fmla="*/ 11257942 w 12192000"/>
              <a:gd name="connsiteY3" fmla="*/ 815598 h 6858000"/>
              <a:gd name="connsiteX4" fmla="*/ 11206118 w 12192000"/>
              <a:gd name="connsiteY4" fmla="*/ 746266 h 6858000"/>
              <a:gd name="connsiteX5" fmla="*/ 11206118 w 12192000"/>
              <a:gd name="connsiteY5" fmla="*/ 746373 h 6858000"/>
              <a:gd name="connsiteX6" fmla="*/ 11206064 w 12192000"/>
              <a:gd name="connsiteY6" fmla="*/ 746373 h 6858000"/>
              <a:gd name="connsiteX7" fmla="*/ 10730352 w 12192000"/>
              <a:gd name="connsiteY7" fmla="*/ 746103 h 6858000"/>
              <a:gd name="connsiteX8" fmla="*/ 10730352 w 12192000"/>
              <a:gd name="connsiteY8" fmla="*/ 780851 h 6858000"/>
              <a:gd name="connsiteX9" fmla="*/ 10782285 w 12192000"/>
              <a:gd name="connsiteY9" fmla="*/ 780851 h 6858000"/>
              <a:gd name="connsiteX10" fmla="*/ 10782285 w 12192000"/>
              <a:gd name="connsiteY10" fmla="*/ 746103 h 6858000"/>
              <a:gd name="connsiteX11" fmla="*/ 11448323 w 12192000"/>
              <a:gd name="connsiteY11" fmla="*/ 711842 h 6858000"/>
              <a:gd name="connsiteX12" fmla="*/ 11448323 w 12192000"/>
              <a:gd name="connsiteY12" fmla="*/ 850075 h 6858000"/>
              <a:gd name="connsiteX13" fmla="*/ 11500201 w 12192000"/>
              <a:gd name="connsiteY13" fmla="*/ 850075 h 6858000"/>
              <a:gd name="connsiteX14" fmla="*/ 11500201 w 12192000"/>
              <a:gd name="connsiteY14" fmla="*/ 746373 h 6858000"/>
              <a:gd name="connsiteX15" fmla="*/ 11526140 w 12192000"/>
              <a:gd name="connsiteY15" fmla="*/ 746373 h 6858000"/>
              <a:gd name="connsiteX16" fmla="*/ 11526140 w 12192000"/>
              <a:gd name="connsiteY16" fmla="*/ 850075 h 6858000"/>
              <a:gd name="connsiteX17" fmla="*/ 11578019 w 12192000"/>
              <a:gd name="connsiteY17" fmla="*/ 850075 h 6858000"/>
              <a:gd name="connsiteX18" fmla="*/ 11578019 w 12192000"/>
              <a:gd name="connsiteY18" fmla="*/ 746373 h 6858000"/>
              <a:gd name="connsiteX19" fmla="*/ 11604012 w 12192000"/>
              <a:gd name="connsiteY19" fmla="*/ 746373 h 6858000"/>
              <a:gd name="connsiteX20" fmla="*/ 11604012 w 12192000"/>
              <a:gd name="connsiteY20" fmla="*/ 850075 h 6858000"/>
              <a:gd name="connsiteX21" fmla="*/ 11655890 w 12192000"/>
              <a:gd name="connsiteY21" fmla="*/ 850075 h 6858000"/>
              <a:gd name="connsiteX22" fmla="*/ 11655890 w 12192000"/>
              <a:gd name="connsiteY22" fmla="*/ 746373 h 6858000"/>
              <a:gd name="connsiteX23" fmla="*/ 11638759 w 12192000"/>
              <a:gd name="connsiteY23" fmla="*/ 711842 h 6858000"/>
              <a:gd name="connsiteX24" fmla="*/ 11448377 w 12192000"/>
              <a:gd name="connsiteY24" fmla="*/ 711842 h 6858000"/>
              <a:gd name="connsiteX25" fmla="*/ 11370506 w 12192000"/>
              <a:gd name="connsiteY25" fmla="*/ 711626 h 6858000"/>
              <a:gd name="connsiteX26" fmla="*/ 11370506 w 12192000"/>
              <a:gd name="connsiteY26" fmla="*/ 850075 h 6858000"/>
              <a:gd name="connsiteX27" fmla="*/ 11422438 w 12192000"/>
              <a:gd name="connsiteY27" fmla="*/ 850075 h 6858000"/>
              <a:gd name="connsiteX28" fmla="*/ 11422438 w 12192000"/>
              <a:gd name="connsiteY28" fmla="*/ 711842 h 6858000"/>
              <a:gd name="connsiteX29" fmla="*/ 10583311 w 12192000"/>
              <a:gd name="connsiteY29" fmla="*/ 677094 h 6858000"/>
              <a:gd name="connsiteX30" fmla="*/ 10583311 w 12192000"/>
              <a:gd name="connsiteY30" fmla="*/ 746373 h 6858000"/>
              <a:gd name="connsiteX31" fmla="*/ 10557101 w 12192000"/>
              <a:gd name="connsiteY31" fmla="*/ 746373 h 6858000"/>
              <a:gd name="connsiteX32" fmla="*/ 11370506 w 12192000"/>
              <a:gd name="connsiteY32" fmla="*/ 642617 h 6858000"/>
              <a:gd name="connsiteX33" fmla="*/ 11370506 w 12192000"/>
              <a:gd name="connsiteY33" fmla="*/ 677094 h 6858000"/>
              <a:gd name="connsiteX34" fmla="*/ 11422438 w 12192000"/>
              <a:gd name="connsiteY34" fmla="*/ 677094 h 6858000"/>
              <a:gd name="connsiteX35" fmla="*/ 11422438 w 12192000"/>
              <a:gd name="connsiteY35" fmla="*/ 642617 h 6858000"/>
              <a:gd name="connsiteX36" fmla="*/ 10799361 w 12192000"/>
              <a:gd name="connsiteY36" fmla="*/ 642617 h 6858000"/>
              <a:gd name="connsiteX37" fmla="*/ 10799361 w 12192000"/>
              <a:gd name="connsiteY37" fmla="*/ 850075 h 6858000"/>
              <a:gd name="connsiteX38" fmla="*/ 10851239 w 12192000"/>
              <a:gd name="connsiteY38" fmla="*/ 850075 h 6858000"/>
              <a:gd name="connsiteX39" fmla="*/ 10851239 w 12192000"/>
              <a:gd name="connsiteY39" fmla="*/ 746373 h 6858000"/>
              <a:gd name="connsiteX40" fmla="*/ 10886041 w 12192000"/>
              <a:gd name="connsiteY40" fmla="*/ 746373 h 6858000"/>
              <a:gd name="connsiteX41" fmla="*/ 10886041 w 12192000"/>
              <a:gd name="connsiteY41" fmla="*/ 815598 h 6858000"/>
              <a:gd name="connsiteX42" fmla="*/ 10903387 w 12192000"/>
              <a:gd name="connsiteY42" fmla="*/ 850075 h 6858000"/>
              <a:gd name="connsiteX43" fmla="*/ 11024544 w 12192000"/>
              <a:gd name="connsiteY43" fmla="*/ 850075 h 6858000"/>
              <a:gd name="connsiteX44" fmla="*/ 11024544 w 12192000"/>
              <a:gd name="connsiteY44" fmla="*/ 746373 h 6858000"/>
              <a:gd name="connsiteX45" fmla="*/ 11050483 w 12192000"/>
              <a:gd name="connsiteY45" fmla="*/ 746373 h 6858000"/>
              <a:gd name="connsiteX46" fmla="*/ 11050483 w 12192000"/>
              <a:gd name="connsiteY46" fmla="*/ 850075 h 6858000"/>
              <a:gd name="connsiteX47" fmla="*/ 11102307 w 12192000"/>
              <a:gd name="connsiteY47" fmla="*/ 850075 h 6858000"/>
              <a:gd name="connsiteX48" fmla="*/ 11102307 w 12192000"/>
              <a:gd name="connsiteY48" fmla="*/ 746373 h 6858000"/>
              <a:gd name="connsiteX49" fmla="*/ 11128301 w 12192000"/>
              <a:gd name="connsiteY49" fmla="*/ 746373 h 6858000"/>
              <a:gd name="connsiteX50" fmla="*/ 11128301 w 12192000"/>
              <a:gd name="connsiteY50" fmla="*/ 850075 h 6858000"/>
              <a:gd name="connsiteX51" fmla="*/ 11180179 w 12192000"/>
              <a:gd name="connsiteY51" fmla="*/ 850075 h 6858000"/>
              <a:gd name="connsiteX52" fmla="*/ 11180179 w 12192000"/>
              <a:gd name="connsiteY52" fmla="*/ 746373 h 6858000"/>
              <a:gd name="connsiteX53" fmla="*/ 11206064 w 12192000"/>
              <a:gd name="connsiteY53" fmla="*/ 746373 h 6858000"/>
              <a:gd name="connsiteX54" fmla="*/ 11206064 w 12192000"/>
              <a:gd name="connsiteY54" fmla="*/ 815598 h 6858000"/>
              <a:gd name="connsiteX55" fmla="*/ 11223464 w 12192000"/>
              <a:gd name="connsiteY55" fmla="*/ 850075 h 6858000"/>
              <a:gd name="connsiteX56" fmla="*/ 11344567 w 12192000"/>
              <a:gd name="connsiteY56" fmla="*/ 850075 h 6858000"/>
              <a:gd name="connsiteX57" fmla="*/ 11344567 w 12192000"/>
              <a:gd name="connsiteY57" fmla="*/ 711842 h 6858000"/>
              <a:gd name="connsiteX58" fmla="*/ 11223464 w 12192000"/>
              <a:gd name="connsiteY58" fmla="*/ 711842 h 6858000"/>
              <a:gd name="connsiteX59" fmla="*/ 11206118 w 12192000"/>
              <a:gd name="connsiteY59" fmla="*/ 746266 h 6858000"/>
              <a:gd name="connsiteX60" fmla="*/ 11206118 w 12192000"/>
              <a:gd name="connsiteY60" fmla="*/ 711842 h 6858000"/>
              <a:gd name="connsiteX61" fmla="*/ 11180179 w 12192000"/>
              <a:gd name="connsiteY61" fmla="*/ 711842 h 6858000"/>
              <a:gd name="connsiteX62" fmla="*/ 11180179 w 12192000"/>
              <a:gd name="connsiteY62" fmla="*/ 677094 h 6858000"/>
              <a:gd name="connsiteX63" fmla="*/ 11128301 w 12192000"/>
              <a:gd name="connsiteY63" fmla="*/ 677094 h 6858000"/>
              <a:gd name="connsiteX64" fmla="*/ 11128301 w 12192000"/>
              <a:gd name="connsiteY64" fmla="*/ 711842 h 6858000"/>
              <a:gd name="connsiteX65" fmla="*/ 11102307 w 12192000"/>
              <a:gd name="connsiteY65" fmla="*/ 711842 h 6858000"/>
              <a:gd name="connsiteX66" fmla="*/ 11102307 w 12192000"/>
              <a:gd name="connsiteY66" fmla="*/ 677094 h 6858000"/>
              <a:gd name="connsiteX67" fmla="*/ 11050483 w 12192000"/>
              <a:gd name="connsiteY67" fmla="*/ 677094 h 6858000"/>
              <a:gd name="connsiteX68" fmla="*/ 11050483 w 12192000"/>
              <a:gd name="connsiteY68" fmla="*/ 711842 h 6858000"/>
              <a:gd name="connsiteX69" fmla="*/ 10972396 w 12192000"/>
              <a:gd name="connsiteY69" fmla="*/ 711842 h 6858000"/>
              <a:gd name="connsiteX70" fmla="*/ 10972396 w 12192000"/>
              <a:gd name="connsiteY70" fmla="*/ 815544 h 6858000"/>
              <a:gd name="connsiteX71" fmla="*/ 10937919 w 12192000"/>
              <a:gd name="connsiteY71" fmla="*/ 815544 h 6858000"/>
              <a:gd name="connsiteX72" fmla="*/ 10937919 w 12192000"/>
              <a:gd name="connsiteY72" fmla="*/ 711842 h 6858000"/>
              <a:gd name="connsiteX73" fmla="*/ 10851293 w 12192000"/>
              <a:gd name="connsiteY73" fmla="*/ 711842 h 6858000"/>
              <a:gd name="connsiteX74" fmla="*/ 10851293 w 12192000"/>
              <a:gd name="connsiteY74" fmla="*/ 677094 h 6858000"/>
              <a:gd name="connsiteX75" fmla="*/ 10937919 w 12192000"/>
              <a:gd name="connsiteY75" fmla="*/ 677094 h 6858000"/>
              <a:gd name="connsiteX76" fmla="*/ 10937919 w 12192000"/>
              <a:gd name="connsiteY76" fmla="*/ 642617 h 6858000"/>
              <a:gd name="connsiteX77" fmla="*/ 10799415 w 12192000"/>
              <a:gd name="connsiteY77" fmla="*/ 642617 h 6858000"/>
              <a:gd name="connsiteX78" fmla="*/ 10661074 w 12192000"/>
              <a:gd name="connsiteY78" fmla="*/ 642617 h 6858000"/>
              <a:gd name="connsiteX79" fmla="*/ 10661074 w 12192000"/>
              <a:gd name="connsiteY79" fmla="*/ 850075 h 6858000"/>
              <a:gd name="connsiteX80" fmla="*/ 10712952 w 12192000"/>
              <a:gd name="connsiteY80" fmla="*/ 850075 h 6858000"/>
              <a:gd name="connsiteX81" fmla="*/ 10712952 w 12192000"/>
              <a:gd name="connsiteY81" fmla="*/ 642617 h 6858000"/>
              <a:gd name="connsiteX82" fmla="*/ 10539971 w 12192000"/>
              <a:gd name="connsiteY82" fmla="*/ 642617 h 6858000"/>
              <a:gd name="connsiteX83" fmla="*/ 10470746 w 12192000"/>
              <a:gd name="connsiteY83" fmla="*/ 850075 h 6858000"/>
              <a:gd name="connsiteX84" fmla="*/ 10522624 w 12192000"/>
              <a:gd name="connsiteY84" fmla="*/ 850075 h 6858000"/>
              <a:gd name="connsiteX85" fmla="*/ 10548563 w 12192000"/>
              <a:gd name="connsiteY85" fmla="*/ 781067 h 6858000"/>
              <a:gd name="connsiteX86" fmla="*/ 10583311 w 12192000"/>
              <a:gd name="connsiteY86" fmla="*/ 781067 h 6858000"/>
              <a:gd name="connsiteX87" fmla="*/ 10583311 w 12192000"/>
              <a:gd name="connsiteY87" fmla="*/ 850075 h 6858000"/>
              <a:gd name="connsiteX88" fmla="*/ 10635189 w 12192000"/>
              <a:gd name="connsiteY88" fmla="*/ 850075 h 6858000"/>
              <a:gd name="connsiteX89" fmla="*/ 10635189 w 12192000"/>
              <a:gd name="connsiteY89" fmla="*/ 642617 h 6858000"/>
              <a:gd name="connsiteX90" fmla="*/ 10159370 w 12192000"/>
              <a:gd name="connsiteY90" fmla="*/ 642563 h 6858000"/>
              <a:gd name="connsiteX91" fmla="*/ 10210978 w 12192000"/>
              <a:gd name="connsiteY91" fmla="*/ 694225 h 6858000"/>
              <a:gd name="connsiteX92" fmla="*/ 10159370 w 12192000"/>
              <a:gd name="connsiteY92" fmla="*/ 745995 h 6858000"/>
              <a:gd name="connsiteX93" fmla="*/ 10107763 w 12192000"/>
              <a:gd name="connsiteY93" fmla="*/ 694225 h 6858000"/>
              <a:gd name="connsiteX94" fmla="*/ 10159370 w 12192000"/>
              <a:gd name="connsiteY94" fmla="*/ 538699 h 6858000"/>
              <a:gd name="connsiteX95" fmla="*/ 9951588 w 12192000"/>
              <a:gd name="connsiteY95" fmla="*/ 746049 h 6858000"/>
              <a:gd name="connsiteX96" fmla="*/ 10003574 w 12192000"/>
              <a:gd name="connsiteY96" fmla="*/ 797927 h 6858000"/>
              <a:gd name="connsiteX97" fmla="*/ 10055722 w 12192000"/>
              <a:gd name="connsiteY97" fmla="*/ 746211 h 6858000"/>
              <a:gd name="connsiteX98" fmla="*/ 10107492 w 12192000"/>
              <a:gd name="connsiteY98" fmla="*/ 798198 h 6858000"/>
              <a:gd name="connsiteX99" fmla="*/ 10055398 w 12192000"/>
              <a:gd name="connsiteY99" fmla="*/ 850292 h 6858000"/>
              <a:gd name="connsiteX100" fmla="*/ 10107492 w 12192000"/>
              <a:gd name="connsiteY100" fmla="*/ 901846 h 6858000"/>
              <a:gd name="connsiteX101" fmla="*/ 10158398 w 12192000"/>
              <a:gd name="connsiteY101" fmla="*/ 850130 h 6858000"/>
              <a:gd name="connsiteX102" fmla="*/ 10211411 w 12192000"/>
              <a:gd name="connsiteY102" fmla="*/ 901846 h 6858000"/>
              <a:gd name="connsiteX103" fmla="*/ 10263073 w 12192000"/>
              <a:gd name="connsiteY103" fmla="*/ 850130 h 6858000"/>
              <a:gd name="connsiteX104" fmla="*/ 10211411 w 12192000"/>
              <a:gd name="connsiteY104" fmla="*/ 798468 h 6858000"/>
              <a:gd name="connsiteX105" fmla="*/ 10263613 w 12192000"/>
              <a:gd name="connsiteY105" fmla="*/ 746211 h 6858000"/>
              <a:gd name="connsiteX106" fmla="*/ 10315221 w 12192000"/>
              <a:gd name="connsiteY106" fmla="*/ 797927 h 6858000"/>
              <a:gd name="connsiteX107" fmla="*/ 10366937 w 12192000"/>
              <a:gd name="connsiteY107" fmla="*/ 746211 h 6858000"/>
              <a:gd name="connsiteX108" fmla="*/ 0 w 12192000"/>
              <a:gd name="connsiteY108" fmla="*/ 0 h 6858000"/>
              <a:gd name="connsiteX109" fmla="*/ 12192000 w 12192000"/>
              <a:gd name="connsiteY109" fmla="*/ 0 h 6858000"/>
              <a:gd name="connsiteX110" fmla="*/ 12192000 w 12192000"/>
              <a:gd name="connsiteY110" fmla="*/ 6858000 h 6858000"/>
              <a:gd name="connsiteX111" fmla="*/ 0 w 12192000"/>
              <a:gd name="connsiteY111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</a:cxnLst>
            <a:rect l="l" t="t" r="r" b="b"/>
            <a:pathLst>
              <a:path w="12192000" h="6858000">
                <a:moveTo>
                  <a:pt x="11257942" y="746373"/>
                </a:moveTo>
                <a:lnTo>
                  <a:pt x="11292689" y="746373"/>
                </a:lnTo>
                <a:lnTo>
                  <a:pt x="11292689" y="815598"/>
                </a:lnTo>
                <a:lnTo>
                  <a:pt x="11257942" y="815598"/>
                </a:lnTo>
                <a:close/>
                <a:moveTo>
                  <a:pt x="11206118" y="746266"/>
                </a:moveTo>
                <a:lnTo>
                  <a:pt x="11206118" y="746373"/>
                </a:lnTo>
                <a:lnTo>
                  <a:pt x="11206064" y="746373"/>
                </a:lnTo>
                <a:close/>
                <a:moveTo>
                  <a:pt x="10730352" y="746103"/>
                </a:moveTo>
                <a:lnTo>
                  <a:pt x="10730352" y="780851"/>
                </a:lnTo>
                <a:lnTo>
                  <a:pt x="10782285" y="780851"/>
                </a:lnTo>
                <a:lnTo>
                  <a:pt x="10782285" y="746103"/>
                </a:lnTo>
                <a:close/>
                <a:moveTo>
                  <a:pt x="11448323" y="711842"/>
                </a:moveTo>
                <a:lnTo>
                  <a:pt x="11448323" y="850075"/>
                </a:lnTo>
                <a:lnTo>
                  <a:pt x="11500201" y="850075"/>
                </a:lnTo>
                <a:lnTo>
                  <a:pt x="11500201" y="746373"/>
                </a:lnTo>
                <a:lnTo>
                  <a:pt x="11526140" y="746373"/>
                </a:lnTo>
                <a:lnTo>
                  <a:pt x="11526140" y="850075"/>
                </a:lnTo>
                <a:lnTo>
                  <a:pt x="11578019" y="850075"/>
                </a:lnTo>
                <a:lnTo>
                  <a:pt x="11578019" y="746373"/>
                </a:lnTo>
                <a:lnTo>
                  <a:pt x="11604012" y="746373"/>
                </a:lnTo>
                <a:lnTo>
                  <a:pt x="11604012" y="850075"/>
                </a:lnTo>
                <a:lnTo>
                  <a:pt x="11655890" y="850075"/>
                </a:lnTo>
                <a:lnTo>
                  <a:pt x="11655890" y="746373"/>
                </a:lnTo>
                <a:lnTo>
                  <a:pt x="11638759" y="711842"/>
                </a:lnTo>
                <a:lnTo>
                  <a:pt x="11448377" y="711842"/>
                </a:lnTo>
                <a:close/>
                <a:moveTo>
                  <a:pt x="11370506" y="711626"/>
                </a:moveTo>
                <a:lnTo>
                  <a:pt x="11370506" y="850075"/>
                </a:lnTo>
                <a:lnTo>
                  <a:pt x="11422438" y="850075"/>
                </a:lnTo>
                <a:lnTo>
                  <a:pt x="11422438" y="711842"/>
                </a:lnTo>
                <a:close/>
                <a:moveTo>
                  <a:pt x="10583311" y="677094"/>
                </a:moveTo>
                <a:lnTo>
                  <a:pt x="10583311" y="746373"/>
                </a:lnTo>
                <a:lnTo>
                  <a:pt x="10557101" y="746373"/>
                </a:lnTo>
                <a:close/>
                <a:moveTo>
                  <a:pt x="11370506" y="642617"/>
                </a:moveTo>
                <a:lnTo>
                  <a:pt x="11370506" y="677094"/>
                </a:lnTo>
                <a:lnTo>
                  <a:pt x="11422438" y="677094"/>
                </a:lnTo>
                <a:lnTo>
                  <a:pt x="11422438" y="642617"/>
                </a:lnTo>
                <a:close/>
                <a:moveTo>
                  <a:pt x="10799361" y="642617"/>
                </a:moveTo>
                <a:lnTo>
                  <a:pt x="10799361" y="850075"/>
                </a:lnTo>
                <a:lnTo>
                  <a:pt x="10851239" y="850075"/>
                </a:lnTo>
                <a:lnTo>
                  <a:pt x="10851239" y="746373"/>
                </a:lnTo>
                <a:lnTo>
                  <a:pt x="10886041" y="746373"/>
                </a:lnTo>
                <a:lnTo>
                  <a:pt x="10886041" y="815598"/>
                </a:lnTo>
                <a:lnTo>
                  <a:pt x="10903387" y="850075"/>
                </a:lnTo>
                <a:lnTo>
                  <a:pt x="11024544" y="850075"/>
                </a:lnTo>
                <a:lnTo>
                  <a:pt x="11024544" y="746373"/>
                </a:lnTo>
                <a:lnTo>
                  <a:pt x="11050483" y="746373"/>
                </a:lnTo>
                <a:lnTo>
                  <a:pt x="11050483" y="850075"/>
                </a:lnTo>
                <a:lnTo>
                  <a:pt x="11102307" y="850075"/>
                </a:lnTo>
                <a:lnTo>
                  <a:pt x="11102307" y="746373"/>
                </a:lnTo>
                <a:lnTo>
                  <a:pt x="11128301" y="746373"/>
                </a:lnTo>
                <a:lnTo>
                  <a:pt x="11128301" y="850075"/>
                </a:lnTo>
                <a:lnTo>
                  <a:pt x="11180179" y="850075"/>
                </a:lnTo>
                <a:lnTo>
                  <a:pt x="11180179" y="746373"/>
                </a:lnTo>
                <a:lnTo>
                  <a:pt x="11206064" y="746373"/>
                </a:lnTo>
                <a:lnTo>
                  <a:pt x="11206064" y="815598"/>
                </a:lnTo>
                <a:lnTo>
                  <a:pt x="11223464" y="850075"/>
                </a:lnTo>
                <a:lnTo>
                  <a:pt x="11344567" y="850075"/>
                </a:lnTo>
                <a:lnTo>
                  <a:pt x="11344567" y="711842"/>
                </a:lnTo>
                <a:lnTo>
                  <a:pt x="11223464" y="711842"/>
                </a:lnTo>
                <a:lnTo>
                  <a:pt x="11206118" y="746266"/>
                </a:lnTo>
                <a:lnTo>
                  <a:pt x="11206118" y="711842"/>
                </a:lnTo>
                <a:lnTo>
                  <a:pt x="11180179" y="711842"/>
                </a:lnTo>
                <a:lnTo>
                  <a:pt x="11180179" y="677094"/>
                </a:lnTo>
                <a:lnTo>
                  <a:pt x="11128301" y="677094"/>
                </a:lnTo>
                <a:lnTo>
                  <a:pt x="11128301" y="711842"/>
                </a:lnTo>
                <a:lnTo>
                  <a:pt x="11102307" y="711842"/>
                </a:lnTo>
                <a:lnTo>
                  <a:pt x="11102307" y="677094"/>
                </a:lnTo>
                <a:lnTo>
                  <a:pt x="11050483" y="677094"/>
                </a:lnTo>
                <a:lnTo>
                  <a:pt x="11050483" y="711842"/>
                </a:lnTo>
                <a:lnTo>
                  <a:pt x="10972396" y="711842"/>
                </a:lnTo>
                <a:lnTo>
                  <a:pt x="10972396" y="815544"/>
                </a:lnTo>
                <a:lnTo>
                  <a:pt x="10937919" y="815544"/>
                </a:lnTo>
                <a:lnTo>
                  <a:pt x="10937919" y="711842"/>
                </a:lnTo>
                <a:lnTo>
                  <a:pt x="10851293" y="711842"/>
                </a:lnTo>
                <a:lnTo>
                  <a:pt x="10851293" y="677094"/>
                </a:lnTo>
                <a:lnTo>
                  <a:pt x="10937919" y="677094"/>
                </a:lnTo>
                <a:lnTo>
                  <a:pt x="10937919" y="642617"/>
                </a:lnTo>
                <a:lnTo>
                  <a:pt x="10799415" y="642617"/>
                </a:lnTo>
                <a:close/>
                <a:moveTo>
                  <a:pt x="10661074" y="642617"/>
                </a:moveTo>
                <a:lnTo>
                  <a:pt x="10661074" y="850075"/>
                </a:lnTo>
                <a:lnTo>
                  <a:pt x="10712952" y="850075"/>
                </a:lnTo>
                <a:lnTo>
                  <a:pt x="10712952" y="642617"/>
                </a:lnTo>
                <a:close/>
                <a:moveTo>
                  <a:pt x="10539971" y="642617"/>
                </a:moveTo>
                <a:lnTo>
                  <a:pt x="10470746" y="850075"/>
                </a:lnTo>
                <a:lnTo>
                  <a:pt x="10522624" y="850075"/>
                </a:lnTo>
                <a:lnTo>
                  <a:pt x="10548563" y="781067"/>
                </a:lnTo>
                <a:lnTo>
                  <a:pt x="10583311" y="781067"/>
                </a:lnTo>
                <a:lnTo>
                  <a:pt x="10583311" y="850075"/>
                </a:lnTo>
                <a:lnTo>
                  <a:pt x="10635189" y="850075"/>
                </a:lnTo>
                <a:lnTo>
                  <a:pt x="10635189" y="642617"/>
                </a:lnTo>
                <a:close/>
                <a:moveTo>
                  <a:pt x="10159370" y="642563"/>
                </a:moveTo>
                <a:lnTo>
                  <a:pt x="10210978" y="694225"/>
                </a:lnTo>
                <a:lnTo>
                  <a:pt x="10159370" y="745995"/>
                </a:lnTo>
                <a:lnTo>
                  <a:pt x="10107763" y="694225"/>
                </a:lnTo>
                <a:close/>
                <a:moveTo>
                  <a:pt x="10159370" y="538699"/>
                </a:moveTo>
                <a:lnTo>
                  <a:pt x="9951588" y="746049"/>
                </a:lnTo>
                <a:lnTo>
                  <a:pt x="10003574" y="797927"/>
                </a:lnTo>
                <a:lnTo>
                  <a:pt x="10055722" y="746211"/>
                </a:lnTo>
                <a:lnTo>
                  <a:pt x="10107492" y="798198"/>
                </a:lnTo>
                <a:lnTo>
                  <a:pt x="10055398" y="850292"/>
                </a:lnTo>
                <a:lnTo>
                  <a:pt x="10107492" y="901846"/>
                </a:lnTo>
                <a:lnTo>
                  <a:pt x="10158398" y="850130"/>
                </a:lnTo>
                <a:lnTo>
                  <a:pt x="10211411" y="901846"/>
                </a:lnTo>
                <a:lnTo>
                  <a:pt x="10263073" y="850130"/>
                </a:lnTo>
                <a:lnTo>
                  <a:pt x="10211411" y="798468"/>
                </a:lnTo>
                <a:lnTo>
                  <a:pt x="10263613" y="746211"/>
                </a:lnTo>
                <a:lnTo>
                  <a:pt x="10315221" y="797927"/>
                </a:lnTo>
                <a:lnTo>
                  <a:pt x="10366937" y="746211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accent6"/>
          </a:solidFill>
        </p:spPr>
        <p:txBody>
          <a:bodyPr wrap="square">
            <a:noAutofit/>
          </a:bodyPr>
          <a:lstStyle/>
          <a:p>
            <a:r>
              <a:rPr lang="en-US"/>
              <a:t>Click to insert picture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2D61B8B-D6CA-BCE6-71B4-5C8A439C247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3109594-1B45-46DB-8A0B-416F125317D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7B82DAD-1AFC-2023-BB91-5E7F5BD2C6D0}"/>
              </a:ext>
            </a:extLst>
          </p:cNvPr>
          <p:cNvSpPr>
            <a:spLocks noGrp="1"/>
          </p:cNvSpPr>
          <p:nvPr>
            <p:ph type="dt" sz="half" idx="12"/>
          </p:nvPr>
        </p:nvSpPr>
        <p:spPr>
          <a:xfrm>
            <a:off x="10673821" y="6462506"/>
            <a:ext cx="639762" cy="12311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590787E-775F-4151-B1DC-26D9CC0B194C}" type="datetime1">
              <a:rPr lang="en-US" smtClean="0"/>
              <a:t>21/08/2025</a:t>
            </a:fld>
            <a:endParaRPr lang="en-US" dirty="0"/>
          </a:p>
        </p:txBody>
      </p:sp>
      <p:sp>
        <p:nvSpPr>
          <p:cNvPr id="8" name="Footer Placeholder 2">
            <a:extLst>
              <a:ext uri="{FF2B5EF4-FFF2-40B4-BE49-F238E27FC236}">
                <a16:creationId xmlns:a16="http://schemas.microsoft.com/office/drawing/2014/main" id="{4E7DF76B-C887-78D9-DED9-9F1A8AD7D51E}"/>
              </a:ext>
            </a:extLst>
          </p:cNvPr>
          <p:cNvSpPr>
            <a:spLocks noGrp="1"/>
          </p:cNvSpPr>
          <p:nvPr userDrawn="1">
            <p:ph type="ftr" sz="quarter" idx="10"/>
          </p:nvPr>
        </p:nvSpPr>
        <p:spPr>
          <a:xfrm>
            <a:off x="539748" y="6462506"/>
            <a:ext cx="5556251" cy="12311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Al-Futtaim Template 2025</a:t>
            </a:r>
          </a:p>
        </p:txBody>
      </p:sp>
    </p:spTree>
    <p:extLst>
      <p:ext uri="{BB962C8B-B14F-4D97-AF65-F5344CB8AC3E}">
        <p14:creationId xmlns:p14="http://schemas.microsoft.com/office/powerpoint/2010/main" val="30799614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855" userDrawn="1">
          <p15:clr>
            <a:srgbClr val="FBAE40"/>
          </p15:clr>
        </p15:guide>
        <p15:guide id="2" pos="5081" userDrawn="1">
          <p15:clr>
            <a:srgbClr val="FBAE40"/>
          </p15:clr>
        </p15:guide>
        <p15:guide id="3" orient="horz" pos="2330" userDrawn="1">
          <p15:clr>
            <a:srgbClr val="FBAE40"/>
          </p15:clr>
        </p15:guide>
        <p15:guide id="4" orient="horz" pos="2500" userDrawn="1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image Slide_dark_2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8C7B99DC-6A49-AA7B-C884-F03DC6C439D0}"/>
              </a:ext>
            </a:extLst>
          </p:cNvPr>
          <p:cNvSpPr/>
          <p:nvPr userDrawn="1"/>
        </p:nvSpPr>
        <p:spPr>
          <a:xfrm>
            <a:off x="10470746" y="642617"/>
            <a:ext cx="1185143" cy="207458"/>
          </a:xfrm>
          <a:custGeom>
            <a:avLst/>
            <a:gdLst>
              <a:gd name="connsiteX0" fmla="*/ 259606 w 1185143"/>
              <a:gd name="connsiteY0" fmla="*/ 138234 h 207458"/>
              <a:gd name="connsiteX1" fmla="*/ 311539 w 1185143"/>
              <a:gd name="connsiteY1" fmla="*/ 138234 h 207458"/>
              <a:gd name="connsiteX2" fmla="*/ 311539 w 1185143"/>
              <a:gd name="connsiteY2" fmla="*/ 103486 h 207458"/>
              <a:gd name="connsiteX3" fmla="*/ 259606 w 1185143"/>
              <a:gd name="connsiteY3" fmla="*/ 103486 h 207458"/>
              <a:gd name="connsiteX4" fmla="*/ 259606 w 1185143"/>
              <a:gd name="connsiteY4" fmla="*/ 138234 h 207458"/>
              <a:gd name="connsiteX5" fmla="*/ 787196 w 1185143"/>
              <a:gd name="connsiteY5" fmla="*/ 103756 h 207458"/>
              <a:gd name="connsiteX6" fmla="*/ 821943 w 1185143"/>
              <a:gd name="connsiteY6" fmla="*/ 103756 h 207458"/>
              <a:gd name="connsiteX7" fmla="*/ 821943 w 1185143"/>
              <a:gd name="connsiteY7" fmla="*/ 172981 h 207458"/>
              <a:gd name="connsiteX8" fmla="*/ 787196 w 1185143"/>
              <a:gd name="connsiteY8" fmla="*/ 172981 h 207458"/>
              <a:gd name="connsiteX9" fmla="*/ 787196 w 1185143"/>
              <a:gd name="connsiteY9" fmla="*/ 103756 h 207458"/>
              <a:gd name="connsiteX10" fmla="*/ 752718 w 1185143"/>
              <a:gd name="connsiteY10" fmla="*/ 69225 h 207458"/>
              <a:gd name="connsiteX11" fmla="*/ 735318 w 1185143"/>
              <a:gd name="connsiteY11" fmla="*/ 103756 h 207458"/>
              <a:gd name="connsiteX12" fmla="*/ 735318 w 1185143"/>
              <a:gd name="connsiteY12" fmla="*/ 172981 h 207458"/>
              <a:gd name="connsiteX13" fmla="*/ 752718 w 1185143"/>
              <a:gd name="connsiteY13" fmla="*/ 207458 h 207458"/>
              <a:gd name="connsiteX14" fmla="*/ 873821 w 1185143"/>
              <a:gd name="connsiteY14" fmla="*/ 207458 h 207458"/>
              <a:gd name="connsiteX15" fmla="*/ 873821 w 1185143"/>
              <a:gd name="connsiteY15" fmla="*/ 69225 h 207458"/>
              <a:gd name="connsiteX16" fmla="*/ 752718 w 1185143"/>
              <a:gd name="connsiteY16" fmla="*/ 69225 h 207458"/>
              <a:gd name="connsiteX17" fmla="*/ 977577 w 1185143"/>
              <a:gd name="connsiteY17" fmla="*/ 69225 h 207458"/>
              <a:gd name="connsiteX18" fmla="*/ 977577 w 1185143"/>
              <a:gd name="connsiteY18" fmla="*/ 207458 h 207458"/>
              <a:gd name="connsiteX19" fmla="*/ 1029455 w 1185143"/>
              <a:gd name="connsiteY19" fmla="*/ 207458 h 207458"/>
              <a:gd name="connsiteX20" fmla="*/ 1029455 w 1185143"/>
              <a:gd name="connsiteY20" fmla="*/ 103756 h 207458"/>
              <a:gd name="connsiteX21" fmla="*/ 1055394 w 1185143"/>
              <a:gd name="connsiteY21" fmla="*/ 103756 h 207458"/>
              <a:gd name="connsiteX22" fmla="*/ 1055394 w 1185143"/>
              <a:gd name="connsiteY22" fmla="*/ 207458 h 207458"/>
              <a:gd name="connsiteX23" fmla="*/ 1107273 w 1185143"/>
              <a:gd name="connsiteY23" fmla="*/ 207458 h 207458"/>
              <a:gd name="connsiteX24" fmla="*/ 1107273 w 1185143"/>
              <a:gd name="connsiteY24" fmla="*/ 103756 h 207458"/>
              <a:gd name="connsiteX25" fmla="*/ 1133266 w 1185143"/>
              <a:gd name="connsiteY25" fmla="*/ 103756 h 207458"/>
              <a:gd name="connsiteX26" fmla="*/ 1133266 w 1185143"/>
              <a:gd name="connsiteY26" fmla="*/ 207458 h 207458"/>
              <a:gd name="connsiteX27" fmla="*/ 1185144 w 1185143"/>
              <a:gd name="connsiteY27" fmla="*/ 207458 h 207458"/>
              <a:gd name="connsiteX28" fmla="*/ 1185144 w 1185143"/>
              <a:gd name="connsiteY28" fmla="*/ 103756 h 207458"/>
              <a:gd name="connsiteX29" fmla="*/ 1168013 w 1185143"/>
              <a:gd name="connsiteY29" fmla="*/ 69225 h 207458"/>
              <a:gd name="connsiteX30" fmla="*/ 977631 w 1185143"/>
              <a:gd name="connsiteY30" fmla="*/ 69225 h 207458"/>
              <a:gd name="connsiteX31" fmla="*/ 899760 w 1185143"/>
              <a:gd name="connsiteY31" fmla="*/ 207458 h 207458"/>
              <a:gd name="connsiteX32" fmla="*/ 951692 w 1185143"/>
              <a:gd name="connsiteY32" fmla="*/ 207458 h 207458"/>
              <a:gd name="connsiteX33" fmla="*/ 951692 w 1185143"/>
              <a:gd name="connsiteY33" fmla="*/ 69225 h 207458"/>
              <a:gd name="connsiteX34" fmla="*/ 899760 w 1185143"/>
              <a:gd name="connsiteY34" fmla="*/ 69009 h 207458"/>
              <a:gd name="connsiteX35" fmla="*/ 899760 w 1185143"/>
              <a:gd name="connsiteY35" fmla="*/ 207458 h 207458"/>
              <a:gd name="connsiteX36" fmla="*/ 112565 w 1185143"/>
              <a:gd name="connsiteY36" fmla="*/ 34477 h 207458"/>
              <a:gd name="connsiteX37" fmla="*/ 112565 w 1185143"/>
              <a:gd name="connsiteY37" fmla="*/ 103756 h 207458"/>
              <a:gd name="connsiteX38" fmla="*/ 86355 w 1185143"/>
              <a:gd name="connsiteY38" fmla="*/ 103756 h 207458"/>
              <a:gd name="connsiteX39" fmla="*/ 112565 w 1185143"/>
              <a:gd name="connsiteY39" fmla="*/ 34477 h 207458"/>
              <a:gd name="connsiteX40" fmla="*/ 69225 w 1185143"/>
              <a:gd name="connsiteY40" fmla="*/ 0 h 207458"/>
              <a:gd name="connsiteX41" fmla="*/ 0 w 1185143"/>
              <a:gd name="connsiteY41" fmla="*/ 207458 h 207458"/>
              <a:gd name="connsiteX42" fmla="*/ 51878 w 1185143"/>
              <a:gd name="connsiteY42" fmla="*/ 207458 h 207458"/>
              <a:gd name="connsiteX43" fmla="*/ 77817 w 1185143"/>
              <a:gd name="connsiteY43" fmla="*/ 138450 h 207458"/>
              <a:gd name="connsiteX44" fmla="*/ 112565 w 1185143"/>
              <a:gd name="connsiteY44" fmla="*/ 138450 h 207458"/>
              <a:gd name="connsiteX45" fmla="*/ 112565 w 1185143"/>
              <a:gd name="connsiteY45" fmla="*/ 207458 h 207458"/>
              <a:gd name="connsiteX46" fmla="*/ 164443 w 1185143"/>
              <a:gd name="connsiteY46" fmla="*/ 207458 h 207458"/>
              <a:gd name="connsiteX47" fmla="*/ 164443 w 1185143"/>
              <a:gd name="connsiteY47" fmla="*/ 0 h 207458"/>
              <a:gd name="connsiteX48" fmla="*/ 69225 w 1185143"/>
              <a:gd name="connsiteY48" fmla="*/ 0 h 207458"/>
              <a:gd name="connsiteX49" fmla="*/ 190328 w 1185143"/>
              <a:gd name="connsiteY49" fmla="*/ 207458 h 207458"/>
              <a:gd name="connsiteX50" fmla="*/ 242206 w 1185143"/>
              <a:gd name="connsiteY50" fmla="*/ 207458 h 207458"/>
              <a:gd name="connsiteX51" fmla="*/ 242206 w 1185143"/>
              <a:gd name="connsiteY51" fmla="*/ 0 h 207458"/>
              <a:gd name="connsiteX52" fmla="*/ 190328 w 1185143"/>
              <a:gd name="connsiteY52" fmla="*/ 0 h 207458"/>
              <a:gd name="connsiteX53" fmla="*/ 190328 w 1185143"/>
              <a:gd name="connsiteY53" fmla="*/ 207458 h 207458"/>
              <a:gd name="connsiteX54" fmla="*/ 328615 w 1185143"/>
              <a:gd name="connsiteY54" fmla="*/ 0 h 207458"/>
              <a:gd name="connsiteX55" fmla="*/ 328615 w 1185143"/>
              <a:gd name="connsiteY55" fmla="*/ 207458 h 207458"/>
              <a:gd name="connsiteX56" fmla="*/ 380493 w 1185143"/>
              <a:gd name="connsiteY56" fmla="*/ 207458 h 207458"/>
              <a:gd name="connsiteX57" fmla="*/ 380493 w 1185143"/>
              <a:gd name="connsiteY57" fmla="*/ 103756 h 207458"/>
              <a:gd name="connsiteX58" fmla="*/ 415295 w 1185143"/>
              <a:gd name="connsiteY58" fmla="*/ 103756 h 207458"/>
              <a:gd name="connsiteX59" fmla="*/ 415295 w 1185143"/>
              <a:gd name="connsiteY59" fmla="*/ 172981 h 207458"/>
              <a:gd name="connsiteX60" fmla="*/ 432641 w 1185143"/>
              <a:gd name="connsiteY60" fmla="*/ 207458 h 207458"/>
              <a:gd name="connsiteX61" fmla="*/ 553798 w 1185143"/>
              <a:gd name="connsiteY61" fmla="*/ 207458 h 207458"/>
              <a:gd name="connsiteX62" fmla="*/ 553798 w 1185143"/>
              <a:gd name="connsiteY62" fmla="*/ 103756 h 207458"/>
              <a:gd name="connsiteX63" fmla="*/ 579737 w 1185143"/>
              <a:gd name="connsiteY63" fmla="*/ 103756 h 207458"/>
              <a:gd name="connsiteX64" fmla="*/ 579737 w 1185143"/>
              <a:gd name="connsiteY64" fmla="*/ 207458 h 207458"/>
              <a:gd name="connsiteX65" fmla="*/ 631561 w 1185143"/>
              <a:gd name="connsiteY65" fmla="*/ 207458 h 207458"/>
              <a:gd name="connsiteX66" fmla="*/ 631561 w 1185143"/>
              <a:gd name="connsiteY66" fmla="*/ 103756 h 207458"/>
              <a:gd name="connsiteX67" fmla="*/ 657555 w 1185143"/>
              <a:gd name="connsiteY67" fmla="*/ 103756 h 207458"/>
              <a:gd name="connsiteX68" fmla="*/ 657555 w 1185143"/>
              <a:gd name="connsiteY68" fmla="*/ 207458 h 207458"/>
              <a:gd name="connsiteX69" fmla="*/ 709433 w 1185143"/>
              <a:gd name="connsiteY69" fmla="*/ 207458 h 207458"/>
              <a:gd name="connsiteX70" fmla="*/ 709433 w 1185143"/>
              <a:gd name="connsiteY70" fmla="*/ 103756 h 207458"/>
              <a:gd name="connsiteX71" fmla="*/ 735372 w 1185143"/>
              <a:gd name="connsiteY71" fmla="*/ 103756 h 207458"/>
              <a:gd name="connsiteX72" fmla="*/ 735372 w 1185143"/>
              <a:gd name="connsiteY72" fmla="*/ 69225 h 207458"/>
              <a:gd name="connsiteX73" fmla="*/ 709433 w 1185143"/>
              <a:gd name="connsiteY73" fmla="*/ 69225 h 207458"/>
              <a:gd name="connsiteX74" fmla="*/ 709433 w 1185143"/>
              <a:gd name="connsiteY74" fmla="*/ 34477 h 207458"/>
              <a:gd name="connsiteX75" fmla="*/ 657555 w 1185143"/>
              <a:gd name="connsiteY75" fmla="*/ 34477 h 207458"/>
              <a:gd name="connsiteX76" fmla="*/ 657555 w 1185143"/>
              <a:gd name="connsiteY76" fmla="*/ 69225 h 207458"/>
              <a:gd name="connsiteX77" fmla="*/ 631561 w 1185143"/>
              <a:gd name="connsiteY77" fmla="*/ 69225 h 207458"/>
              <a:gd name="connsiteX78" fmla="*/ 631561 w 1185143"/>
              <a:gd name="connsiteY78" fmla="*/ 34477 h 207458"/>
              <a:gd name="connsiteX79" fmla="*/ 579737 w 1185143"/>
              <a:gd name="connsiteY79" fmla="*/ 34477 h 207458"/>
              <a:gd name="connsiteX80" fmla="*/ 579737 w 1185143"/>
              <a:gd name="connsiteY80" fmla="*/ 69225 h 207458"/>
              <a:gd name="connsiteX81" fmla="*/ 501650 w 1185143"/>
              <a:gd name="connsiteY81" fmla="*/ 69225 h 207458"/>
              <a:gd name="connsiteX82" fmla="*/ 501650 w 1185143"/>
              <a:gd name="connsiteY82" fmla="*/ 172927 h 207458"/>
              <a:gd name="connsiteX83" fmla="*/ 467173 w 1185143"/>
              <a:gd name="connsiteY83" fmla="*/ 172927 h 207458"/>
              <a:gd name="connsiteX84" fmla="*/ 467173 w 1185143"/>
              <a:gd name="connsiteY84" fmla="*/ 69225 h 207458"/>
              <a:gd name="connsiteX85" fmla="*/ 380547 w 1185143"/>
              <a:gd name="connsiteY85" fmla="*/ 69225 h 207458"/>
              <a:gd name="connsiteX86" fmla="*/ 380547 w 1185143"/>
              <a:gd name="connsiteY86" fmla="*/ 34477 h 207458"/>
              <a:gd name="connsiteX87" fmla="*/ 467173 w 1185143"/>
              <a:gd name="connsiteY87" fmla="*/ 34477 h 207458"/>
              <a:gd name="connsiteX88" fmla="*/ 467173 w 1185143"/>
              <a:gd name="connsiteY88" fmla="*/ 0 h 207458"/>
              <a:gd name="connsiteX89" fmla="*/ 328669 w 1185143"/>
              <a:gd name="connsiteY89" fmla="*/ 0 h 207458"/>
              <a:gd name="connsiteX90" fmla="*/ 899760 w 1185143"/>
              <a:gd name="connsiteY90" fmla="*/ 34477 h 207458"/>
              <a:gd name="connsiteX91" fmla="*/ 951692 w 1185143"/>
              <a:gd name="connsiteY91" fmla="*/ 34477 h 207458"/>
              <a:gd name="connsiteX92" fmla="*/ 951692 w 1185143"/>
              <a:gd name="connsiteY92" fmla="*/ 0 h 207458"/>
              <a:gd name="connsiteX93" fmla="*/ 899760 w 1185143"/>
              <a:gd name="connsiteY93" fmla="*/ 0 h 207458"/>
              <a:gd name="connsiteX94" fmla="*/ 899760 w 1185143"/>
              <a:gd name="connsiteY94" fmla="*/ 34477 h 2074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</a:cxnLst>
            <a:rect l="l" t="t" r="r" b="b"/>
            <a:pathLst>
              <a:path w="1185143" h="207458">
                <a:moveTo>
                  <a:pt x="259606" y="138234"/>
                </a:moveTo>
                <a:lnTo>
                  <a:pt x="311539" y="138234"/>
                </a:lnTo>
                <a:lnTo>
                  <a:pt x="311539" y="103486"/>
                </a:lnTo>
                <a:lnTo>
                  <a:pt x="259606" y="103486"/>
                </a:lnTo>
                <a:lnTo>
                  <a:pt x="259606" y="138234"/>
                </a:lnTo>
                <a:close/>
                <a:moveTo>
                  <a:pt x="787196" y="103756"/>
                </a:moveTo>
                <a:lnTo>
                  <a:pt x="821943" y="103756"/>
                </a:lnTo>
                <a:lnTo>
                  <a:pt x="821943" y="172981"/>
                </a:lnTo>
                <a:lnTo>
                  <a:pt x="787196" y="172981"/>
                </a:lnTo>
                <a:lnTo>
                  <a:pt x="787196" y="103756"/>
                </a:lnTo>
                <a:close/>
                <a:moveTo>
                  <a:pt x="752718" y="69225"/>
                </a:moveTo>
                <a:lnTo>
                  <a:pt x="735318" y="103756"/>
                </a:lnTo>
                <a:lnTo>
                  <a:pt x="735318" y="172981"/>
                </a:lnTo>
                <a:lnTo>
                  <a:pt x="752718" y="207458"/>
                </a:lnTo>
                <a:lnTo>
                  <a:pt x="873821" y="207458"/>
                </a:lnTo>
                <a:lnTo>
                  <a:pt x="873821" y="69225"/>
                </a:lnTo>
                <a:lnTo>
                  <a:pt x="752718" y="69225"/>
                </a:lnTo>
                <a:close/>
                <a:moveTo>
                  <a:pt x="977577" y="69225"/>
                </a:moveTo>
                <a:lnTo>
                  <a:pt x="977577" y="207458"/>
                </a:lnTo>
                <a:lnTo>
                  <a:pt x="1029455" y="207458"/>
                </a:lnTo>
                <a:lnTo>
                  <a:pt x="1029455" y="103756"/>
                </a:lnTo>
                <a:lnTo>
                  <a:pt x="1055394" y="103756"/>
                </a:lnTo>
                <a:lnTo>
                  <a:pt x="1055394" y="207458"/>
                </a:lnTo>
                <a:lnTo>
                  <a:pt x="1107273" y="207458"/>
                </a:lnTo>
                <a:lnTo>
                  <a:pt x="1107273" y="103756"/>
                </a:lnTo>
                <a:lnTo>
                  <a:pt x="1133266" y="103756"/>
                </a:lnTo>
                <a:lnTo>
                  <a:pt x="1133266" y="207458"/>
                </a:lnTo>
                <a:lnTo>
                  <a:pt x="1185144" y="207458"/>
                </a:lnTo>
                <a:lnTo>
                  <a:pt x="1185144" y="103756"/>
                </a:lnTo>
                <a:lnTo>
                  <a:pt x="1168013" y="69225"/>
                </a:lnTo>
                <a:lnTo>
                  <a:pt x="977631" y="69225"/>
                </a:lnTo>
                <a:close/>
                <a:moveTo>
                  <a:pt x="899760" y="207458"/>
                </a:moveTo>
                <a:lnTo>
                  <a:pt x="951692" y="207458"/>
                </a:lnTo>
                <a:lnTo>
                  <a:pt x="951692" y="69225"/>
                </a:lnTo>
                <a:lnTo>
                  <a:pt x="899760" y="69009"/>
                </a:lnTo>
                <a:lnTo>
                  <a:pt x="899760" y="207458"/>
                </a:lnTo>
                <a:close/>
                <a:moveTo>
                  <a:pt x="112565" y="34477"/>
                </a:moveTo>
                <a:lnTo>
                  <a:pt x="112565" y="103756"/>
                </a:lnTo>
                <a:lnTo>
                  <a:pt x="86355" y="103756"/>
                </a:lnTo>
                <a:lnTo>
                  <a:pt x="112565" y="34477"/>
                </a:lnTo>
                <a:close/>
                <a:moveTo>
                  <a:pt x="69225" y="0"/>
                </a:moveTo>
                <a:lnTo>
                  <a:pt x="0" y="207458"/>
                </a:lnTo>
                <a:lnTo>
                  <a:pt x="51878" y="207458"/>
                </a:lnTo>
                <a:lnTo>
                  <a:pt x="77817" y="138450"/>
                </a:lnTo>
                <a:lnTo>
                  <a:pt x="112565" y="138450"/>
                </a:lnTo>
                <a:lnTo>
                  <a:pt x="112565" y="207458"/>
                </a:lnTo>
                <a:lnTo>
                  <a:pt x="164443" y="207458"/>
                </a:lnTo>
                <a:lnTo>
                  <a:pt x="164443" y="0"/>
                </a:lnTo>
                <a:lnTo>
                  <a:pt x="69225" y="0"/>
                </a:lnTo>
                <a:close/>
                <a:moveTo>
                  <a:pt x="190328" y="207458"/>
                </a:moveTo>
                <a:lnTo>
                  <a:pt x="242206" y="207458"/>
                </a:lnTo>
                <a:lnTo>
                  <a:pt x="242206" y="0"/>
                </a:lnTo>
                <a:lnTo>
                  <a:pt x="190328" y="0"/>
                </a:lnTo>
                <a:lnTo>
                  <a:pt x="190328" y="207458"/>
                </a:lnTo>
                <a:close/>
                <a:moveTo>
                  <a:pt x="328615" y="0"/>
                </a:moveTo>
                <a:lnTo>
                  <a:pt x="328615" y="207458"/>
                </a:lnTo>
                <a:lnTo>
                  <a:pt x="380493" y="207458"/>
                </a:lnTo>
                <a:lnTo>
                  <a:pt x="380493" y="103756"/>
                </a:lnTo>
                <a:lnTo>
                  <a:pt x="415295" y="103756"/>
                </a:lnTo>
                <a:lnTo>
                  <a:pt x="415295" y="172981"/>
                </a:lnTo>
                <a:lnTo>
                  <a:pt x="432641" y="207458"/>
                </a:lnTo>
                <a:lnTo>
                  <a:pt x="553798" y="207458"/>
                </a:lnTo>
                <a:lnTo>
                  <a:pt x="553798" y="103756"/>
                </a:lnTo>
                <a:lnTo>
                  <a:pt x="579737" y="103756"/>
                </a:lnTo>
                <a:lnTo>
                  <a:pt x="579737" y="207458"/>
                </a:lnTo>
                <a:lnTo>
                  <a:pt x="631561" y="207458"/>
                </a:lnTo>
                <a:lnTo>
                  <a:pt x="631561" y="103756"/>
                </a:lnTo>
                <a:lnTo>
                  <a:pt x="657555" y="103756"/>
                </a:lnTo>
                <a:lnTo>
                  <a:pt x="657555" y="207458"/>
                </a:lnTo>
                <a:lnTo>
                  <a:pt x="709433" y="207458"/>
                </a:lnTo>
                <a:lnTo>
                  <a:pt x="709433" y="103756"/>
                </a:lnTo>
                <a:lnTo>
                  <a:pt x="735372" y="103756"/>
                </a:lnTo>
                <a:lnTo>
                  <a:pt x="735372" y="69225"/>
                </a:lnTo>
                <a:lnTo>
                  <a:pt x="709433" y="69225"/>
                </a:lnTo>
                <a:lnTo>
                  <a:pt x="709433" y="34477"/>
                </a:lnTo>
                <a:lnTo>
                  <a:pt x="657555" y="34477"/>
                </a:lnTo>
                <a:lnTo>
                  <a:pt x="657555" y="69225"/>
                </a:lnTo>
                <a:lnTo>
                  <a:pt x="631561" y="69225"/>
                </a:lnTo>
                <a:lnTo>
                  <a:pt x="631561" y="34477"/>
                </a:lnTo>
                <a:lnTo>
                  <a:pt x="579737" y="34477"/>
                </a:lnTo>
                <a:lnTo>
                  <a:pt x="579737" y="69225"/>
                </a:lnTo>
                <a:lnTo>
                  <a:pt x="501650" y="69225"/>
                </a:lnTo>
                <a:lnTo>
                  <a:pt x="501650" y="172927"/>
                </a:lnTo>
                <a:lnTo>
                  <a:pt x="467173" y="172927"/>
                </a:lnTo>
                <a:lnTo>
                  <a:pt x="467173" y="69225"/>
                </a:lnTo>
                <a:lnTo>
                  <a:pt x="380547" y="69225"/>
                </a:lnTo>
                <a:lnTo>
                  <a:pt x="380547" y="34477"/>
                </a:lnTo>
                <a:lnTo>
                  <a:pt x="467173" y="34477"/>
                </a:lnTo>
                <a:lnTo>
                  <a:pt x="467173" y="0"/>
                </a:lnTo>
                <a:lnTo>
                  <a:pt x="328669" y="0"/>
                </a:lnTo>
                <a:close/>
                <a:moveTo>
                  <a:pt x="899760" y="34477"/>
                </a:moveTo>
                <a:lnTo>
                  <a:pt x="951692" y="34477"/>
                </a:lnTo>
                <a:lnTo>
                  <a:pt x="951692" y="0"/>
                </a:lnTo>
                <a:lnTo>
                  <a:pt x="899760" y="0"/>
                </a:lnTo>
                <a:lnTo>
                  <a:pt x="899760" y="34477"/>
                </a:lnTo>
                <a:close/>
              </a:path>
            </a:pathLst>
          </a:custGeom>
          <a:solidFill>
            <a:schemeClr val="bg1"/>
          </a:solidFill>
          <a:ln w="5382" cap="flat">
            <a:noFill/>
            <a:prstDash val="solid"/>
            <a:miter/>
          </a:ln>
        </p:spPr>
        <p:txBody>
          <a:bodyPr rtlCol="0" anchor="ctr"/>
          <a:lstStyle/>
          <a:p>
            <a:endParaRPr lang="en-US" dirty="0"/>
          </a:p>
        </p:txBody>
      </p:sp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2C9D9692-48C7-DABD-E24B-9748091E3AED}"/>
              </a:ext>
            </a:extLst>
          </p:cNvPr>
          <p:cNvSpPr/>
          <p:nvPr userDrawn="1"/>
        </p:nvSpPr>
        <p:spPr>
          <a:xfrm>
            <a:off x="9951588" y="538699"/>
            <a:ext cx="415348" cy="363146"/>
          </a:xfrm>
          <a:custGeom>
            <a:avLst/>
            <a:gdLst>
              <a:gd name="connsiteX0" fmla="*/ 156175 w 415348"/>
              <a:gd name="connsiteY0" fmla="*/ 155526 h 363146"/>
              <a:gd name="connsiteX1" fmla="*/ 207782 w 415348"/>
              <a:gd name="connsiteY1" fmla="*/ 103864 h 363146"/>
              <a:gd name="connsiteX2" fmla="*/ 259390 w 415348"/>
              <a:gd name="connsiteY2" fmla="*/ 155526 h 363146"/>
              <a:gd name="connsiteX3" fmla="*/ 207782 w 415348"/>
              <a:gd name="connsiteY3" fmla="*/ 207296 h 363146"/>
              <a:gd name="connsiteX4" fmla="*/ 156175 w 415348"/>
              <a:gd name="connsiteY4" fmla="*/ 155526 h 363146"/>
              <a:gd name="connsiteX5" fmla="*/ 207782 w 415348"/>
              <a:gd name="connsiteY5" fmla="*/ 0 h 363146"/>
              <a:gd name="connsiteX6" fmla="*/ 0 w 415348"/>
              <a:gd name="connsiteY6" fmla="*/ 207350 h 363146"/>
              <a:gd name="connsiteX7" fmla="*/ 51986 w 415348"/>
              <a:gd name="connsiteY7" fmla="*/ 259228 h 363146"/>
              <a:gd name="connsiteX8" fmla="*/ 104134 w 415348"/>
              <a:gd name="connsiteY8" fmla="*/ 207512 h 363146"/>
              <a:gd name="connsiteX9" fmla="*/ 155904 w 415348"/>
              <a:gd name="connsiteY9" fmla="*/ 259499 h 363146"/>
              <a:gd name="connsiteX10" fmla="*/ 103810 w 415348"/>
              <a:gd name="connsiteY10" fmla="*/ 311593 h 363146"/>
              <a:gd name="connsiteX11" fmla="*/ 155904 w 415348"/>
              <a:gd name="connsiteY11" fmla="*/ 363147 h 363146"/>
              <a:gd name="connsiteX12" fmla="*/ 206810 w 415348"/>
              <a:gd name="connsiteY12" fmla="*/ 311431 h 363146"/>
              <a:gd name="connsiteX13" fmla="*/ 259823 w 415348"/>
              <a:gd name="connsiteY13" fmla="*/ 363147 h 363146"/>
              <a:gd name="connsiteX14" fmla="*/ 311485 w 415348"/>
              <a:gd name="connsiteY14" fmla="*/ 311431 h 363146"/>
              <a:gd name="connsiteX15" fmla="*/ 259823 w 415348"/>
              <a:gd name="connsiteY15" fmla="*/ 259769 h 363146"/>
              <a:gd name="connsiteX16" fmla="*/ 312025 w 415348"/>
              <a:gd name="connsiteY16" fmla="*/ 207512 h 363146"/>
              <a:gd name="connsiteX17" fmla="*/ 363633 w 415348"/>
              <a:gd name="connsiteY17" fmla="*/ 259228 h 363146"/>
              <a:gd name="connsiteX18" fmla="*/ 415349 w 415348"/>
              <a:gd name="connsiteY18" fmla="*/ 207512 h 363146"/>
              <a:gd name="connsiteX19" fmla="*/ 207782 w 415348"/>
              <a:gd name="connsiteY19" fmla="*/ 0 h 3631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415348" h="363146">
                <a:moveTo>
                  <a:pt x="156175" y="155526"/>
                </a:moveTo>
                <a:lnTo>
                  <a:pt x="207782" y="103864"/>
                </a:lnTo>
                <a:lnTo>
                  <a:pt x="259390" y="155526"/>
                </a:lnTo>
                <a:lnTo>
                  <a:pt x="207782" y="207296"/>
                </a:lnTo>
                <a:lnTo>
                  <a:pt x="156175" y="155526"/>
                </a:lnTo>
                <a:close/>
                <a:moveTo>
                  <a:pt x="207782" y="0"/>
                </a:moveTo>
                <a:lnTo>
                  <a:pt x="0" y="207350"/>
                </a:lnTo>
                <a:lnTo>
                  <a:pt x="51986" y="259228"/>
                </a:lnTo>
                <a:lnTo>
                  <a:pt x="104134" y="207512"/>
                </a:lnTo>
                <a:lnTo>
                  <a:pt x="155904" y="259499"/>
                </a:lnTo>
                <a:lnTo>
                  <a:pt x="103810" y="311593"/>
                </a:lnTo>
                <a:lnTo>
                  <a:pt x="155904" y="363147"/>
                </a:lnTo>
                <a:lnTo>
                  <a:pt x="206810" y="311431"/>
                </a:lnTo>
                <a:lnTo>
                  <a:pt x="259823" y="363147"/>
                </a:lnTo>
                <a:lnTo>
                  <a:pt x="311485" y="311431"/>
                </a:lnTo>
                <a:lnTo>
                  <a:pt x="259823" y="259769"/>
                </a:lnTo>
                <a:lnTo>
                  <a:pt x="312025" y="207512"/>
                </a:lnTo>
                <a:lnTo>
                  <a:pt x="363633" y="259228"/>
                </a:lnTo>
                <a:lnTo>
                  <a:pt x="415349" y="207512"/>
                </a:lnTo>
                <a:lnTo>
                  <a:pt x="207782" y="0"/>
                </a:lnTo>
                <a:close/>
              </a:path>
            </a:pathLst>
          </a:custGeom>
          <a:solidFill>
            <a:schemeClr val="bg1"/>
          </a:solidFill>
          <a:ln w="5382" cap="flat">
            <a:noFill/>
            <a:prstDash val="solid"/>
            <a:miter/>
          </a:ln>
        </p:spPr>
        <p:txBody>
          <a:bodyPr rtlCol="0" anchor="ctr"/>
          <a:lstStyle/>
          <a:p>
            <a:endParaRPr lang="en-US" dirty="0"/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D3A519CC-A663-F358-9865-6872EB7A1873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11257942 w 12192000"/>
              <a:gd name="connsiteY0" fmla="*/ 746373 h 6858000"/>
              <a:gd name="connsiteX1" fmla="*/ 11292689 w 12192000"/>
              <a:gd name="connsiteY1" fmla="*/ 746373 h 6858000"/>
              <a:gd name="connsiteX2" fmla="*/ 11292689 w 12192000"/>
              <a:gd name="connsiteY2" fmla="*/ 815598 h 6858000"/>
              <a:gd name="connsiteX3" fmla="*/ 11257942 w 12192000"/>
              <a:gd name="connsiteY3" fmla="*/ 815598 h 6858000"/>
              <a:gd name="connsiteX4" fmla="*/ 11206118 w 12192000"/>
              <a:gd name="connsiteY4" fmla="*/ 746266 h 6858000"/>
              <a:gd name="connsiteX5" fmla="*/ 11206118 w 12192000"/>
              <a:gd name="connsiteY5" fmla="*/ 746373 h 6858000"/>
              <a:gd name="connsiteX6" fmla="*/ 11206064 w 12192000"/>
              <a:gd name="connsiteY6" fmla="*/ 746373 h 6858000"/>
              <a:gd name="connsiteX7" fmla="*/ 10730352 w 12192000"/>
              <a:gd name="connsiteY7" fmla="*/ 746103 h 6858000"/>
              <a:gd name="connsiteX8" fmla="*/ 10730352 w 12192000"/>
              <a:gd name="connsiteY8" fmla="*/ 780851 h 6858000"/>
              <a:gd name="connsiteX9" fmla="*/ 10782285 w 12192000"/>
              <a:gd name="connsiteY9" fmla="*/ 780851 h 6858000"/>
              <a:gd name="connsiteX10" fmla="*/ 10782285 w 12192000"/>
              <a:gd name="connsiteY10" fmla="*/ 746103 h 6858000"/>
              <a:gd name="connsiteX11" fmla="*/ 11448323 w 12192000"/>
              <a:gd name="connsiteY11" fmla="*/ 711842 h 6858000"/>
              <a:gd name="connsiteX12" fmla="*/ 11448323 w 12192000"/>
              <a:gd name="connsiteY12" fmla="*/ 850075 h 6858000"/>
              <a:gd name="connsiteX13" fmla="*/ 11500201 w 12192000"/>
              <a:gd name="connsiteY13" fmla="*/ 850075 h 6858000"/>
              <a:gd name="connsiteX14" fmla="*/ 11500201 w 12192000"/>
              <a:gd name="connsiteY14" fmla="*/ 746373 h 6858000"/>
              <a:gd name="connsiteX15" fmla="*/ 11526140 w 12192000"/>
              <a:gd name="connsiteY15" fmla="*/ 746373 h 6858000"/>
              <a:gd name="connsiteX16" fmla="*/ 11526140 w 12192000"/>
              <a:gd name="connsiteY16" fmla="*/ 850075 h 6858000"/>
              <a:gd name="connsiteX17" fmla="*/ 11578019 w 12192000"/>
              <a:gd name="connsiteY17" fmla="*/ 850075 h 6858000"/>
              <a:gd name="connsiteX18" fmla="*/ 11578019 w 12192000"/>
              <a:gd name="connsiteY18" fmla="*/ 746373 h 6858000"/>
              <a:gd name="connsiteX19" fmla="*/ 11604012 w 12192000"/>
              <a:gd name="connsiteY19" fmla="*/ 746373 h 6858000"/>
              <a:gd name="connsiteX20" fmla="*/ 11604012 w 12192000"/>
              <a:gd name="connsiteY20" fmla="*/ 850075 h 6858000"/>
              <a:gd name="connsiteX21" fmla="*/ 11655890 w 12192000"/>
              <a:gd name="connsiteY21" fmla="*/ 850075 h 6858000"/>
              <a:gd name="connsiteX22" fmla="*/ 11655890 w 12192000"/>
              <a:gd name="connsiteY22" fmla="*/ 746373 h 6858000"/>
              <a:gd name="connsiteX23" fmla="*/ 11638759 w 12192000"/>
              <a:gd name="connsiteY23" fmla="*/ 711842 h 6858000"/>
              <a:gd name="connsiteX24" fmla="*/ 11448377 w 12192000"/>
              <a:gd name="connsiteY24" fmla="*/ 711842 h 6858000"/>
              <a:gd name="connsiteX25" fmla="*/ 11370506 w 12192000"/>
              <a:gd name="connsiteY25" fmla="*/ 711626 h 6858000"/>
              <a:gd name="connsiteX26" fmla="*/ 11370506 w 12192000"/>
              <a:gd name="connsiteY26" fmla="*/ 850075 h 6858000"/>
              <a:gd name="connsiteX27" fmla="*/ 11422438 w 12192000"/>
              <a:gd name="connsiteY27" fmla="*/ 850075 h 6858000"/>
              <a:gd name="connsiteX28" fmla="*/ 11422438 w 12192000"/>
              <a:gd name="connsiteY28" fmla="*/ 711842 h 6858000"/>
              <a:gd name="connsiteX29" fmla="*/ 10583311 w 12192000"/>
              <a:gd name="connsiteY29" fmla="*/ 677094 h 6858000"/>
              <a:gd name="connsiteX30" fmla="*/ 10583311 w 12192000"/>
              <a:gd name="connsiteY30" fmla="*/ 746373 h 6858000"/>
              <a:gd name="connsiteX31" fmla="*/ 10557101 w 12192000"/>
              <a:gd name="connsiteY31" fmla="*/ 746373 h 6858000"/>
              <a:gd name="connsiteX32" fmla="*/ 11370506 w 12192000"/>
              <a:gd name="connsiteY32" fmla="*/ 642617 h 6858000"/>
              <a:gd name="connsiteX33" fmla="*/ 11370506 w 12192000"/>
              <a:gd name="connsiteY33" fmla="*/ 677094 h 6858000"/>
              <a:gd name="connsiteX34" fmla="*/ 11422438 w 12192000"/>
              <a:gd name="connsiteY34" fmla="*/ 677094 h 6858000"/>
              <a:gd name="connsiteX35" fmla="*/ 11422438 w 12192000"/>
              <a:gd name="connsiteY35" fmla="*/ 642617 h 6858000"/>
              <a:gd name="connsiteX36" fmla="*/ 10799361 w 12192000"/>
              <a:gd name="connsiteY36" fmla="*/ 642617 h 6858000"/>
              <a:gd name="connsiteX37" fmla="*/ 10799361 w 12192000"/>
              <a:gd name="connsiteY37" fmla="*/ 850075 h 6858000"/>
              <a:gd name="connsiteX38" fmla="*/ 10851239 w 12192000"/>
              <a:gd name="connsiteY38" fmla="*/ 850075 h 6858000"/>
              <a:gd name="connsiteX39" fmla="*/ 10851239 w 12192000"/>
              <a:gd name="connsiteY39" fmla="*/ 746373 h 6858000"/>
              <a:gd name="connsiteX40" fmla="*/ 10886041 w 12192000"/>
              <a:gd name="connsiteY40" fmla="*/ 746373 h 6858000"/>
              <a:gd name="connsiteX41" fmla="*/ 10886041 w 12192000"/>
              <a:gd name="connsiteY41" fmla="*/ 815598 h 6858000"/>
              <a:gd name="connsiteX42" fmla="*/ 10903387 w 12192000"/>
              <a:gd name="connsiteY42" fmla="*/ 850075 h 6858000"/>
              <a:gd name="connsiteX43" fmla="*/ 11024544 w 12192000"/>
              <a:gd name="connsiteY43" fmla="*/ 850075 h 6858000"/>
              <a:gd name="connsiteX44" fmla="*/ 11024544 w 12192000"/>
              <a:gd name="connsiteY44" fmla="*/ 746373 h 6858000"/>
              <a:gd name="connsiteX45" fmla="*/ 11050483 w 12192000"/>
              <a:gd name="connsiteY45" fmla="*/ 746373 h 6858000"/>
              <a:gd name="connsiteX46" fmla="*/ 11050483 w 12192000"/>
              <a:gd name="connsiteY46" fmla="*/ 850075 h 6858000"/>
              <a:gd name="connsiteX47" fmla="*/ 11102307 w 12192000"/>
              <a:gd name="connsiteY47" fmla="*/ 850075 h 6858000"/>
              <a:gd name="connsiteX48" fmla="*/ 11102307 w 12192000"/>
              <a:gd name="connsiteY48" fmla="*/ 746373 h 6858000"/>
              <a:gd name="connsiteX49" fmla="*/ 11128301 w 12192000"/>
              <a:gd name="connsiteY49" fmla="*/ 746373 h 6858000"/>
              <a:gd name="connsiteX50" fmla="*/ 11128301 w 12192000"/>
              <a:gd name="connsiteY50" fmla="*/ 850075 h 6858000"/>
              <a:gd name="connsiteX51" fmla="*/ 11180179 w 12192000"/>
              <a:gd name="connsiteY51" fmla="*/ 850075 h 6858000"/>
              <a:gd name="connsiteX52" fmla="*/ 11180179 w 12192000"/>
              <a:gd name="connsiteY52" fmla="*/ 746373 h 6858000"/>
              <a:gd name="connsiteX53" fmla="*/ 11206064 w 12192000"/>
              <a:gd name="connsiteY53" fmla="*/ 746373 h 6858000"/>
              <a:gd name="connsiteX54" fmla="*/ 11206064 w 12192000"/>
              <a:gd name="connsiteY54" fmla="*/ 815598 h 6858000"/>
              <a:gd name="connsiteX55" fmla="*/ 11223464 w 12192000"/>
              <a:gd name="connsiteY55" fmla="*/ 850075 h 6858000"/>
              <a:gd name="connsiteX56" fmla="*/ 11344567 w 12192000"/>
              <a:gd name="connsiteY56" fmla="*/ 850075 h 6858000"/>
              <a:gd name="connsiteX57" fmla="*/ 11344567 w 12192000"/>
              <a:gd name="connsiteY57" fmla="*/ 711842 h 6858000"/>
              <a:gd name="connsiteX58" fmla="*/ 11223464 w 12192000"/>
              <a:gd name="connsiteY58" fmla="*/ 711842 h 6858000"/>
              <a:gd name="connsiteX59" fmla="*/ 11206118 w 12192000"/>
              <a:gd name="connsiteY59" fmla="*/ 746266 h 6858000"/>
              <a:gd name="connsiteX60" fmla="*/ 11206118 w 12192000"/>
              <a:gd name="connsiteY60" fmla="*/ 711842 h 6858000"/>
              <a:gd name="connsiteX61" fmla="*/ 11180179 w 12192000"/>
              <a:gd name="connsiteY61" fmla="*/ 711842 h 6858000"/>
              <a:gd name="connsiteX62" fmla="*/ 11180179 w 12192000"/>
              <a:gd name="connsiteY62" fmla="*/ 677094 h 6858000"/>
              <a:gd name="connsiteX63" fmla="*/ 11128301 w 12192000"/>
              <a:gd name="connsiteY63" fmla="*/ 677094 h 6858000"/>
              <a:gd name="connsiteX64" fmla="*/ 11128301 w 12192000"/>
              <a:gd name="connsiteY64" fmla="*/ 711842 h 6858000"/>
              <a:gd name="connsiteX65" fmla="*/ 11102307 w 12192000"/>
              <a:gd name="connsiteY65" fmla="*/ 711842 h 6858000"/>
              <a:gd name="connsiteX66" fmla="*/ 11102307 w 12192000"/>
              <a:gd name="connsiteY66" fmla="*/ 677094 h 6858000"/>
              <a:gd name="connsiteX67" fmla="*/ 11050483 w 12192000"/>
              <a:gd name="connsiteY67" fmla="*/ 677094 h 6858000"/>
              <a:gd name="connsiteX68" fmla="*/ 11050483 w 12192000"/>
              <a:gd name="connsiteY68" fmla="*/ 711842 h 6858000"/>
              <a:gd name="connsiteX69" fmla="*/ 10972396 w 12192000"/>
              <a:gd name="connsiteY69" fmla="*/ 711842 h 6858000"/>
              <a:gd name="connsiteX70" fmla="*/ 10972396 w 12192000"/>
              <a:gd name="connsiteY70" fmla="*/ 815544 h 6858000"/>
              <a:gd name="connsiteX71" fmla="*/ 10937919 w 12192000"/>
              <a:gd name="connsiteY71" fmla="*/ 815544 h 6858000"/>
              <a:gd name="connsiteX72" fmla="*/ 10937919 w 12192000"/>
              <a:gd name="connsiteY72" fmla="*/ 711842 h 6858000"/>
              <a:gd name="connsiteX73" fmla="*/ 10851293 w 12192000"/>
              <a:gd name="connsiteY73" fmla="*/ 711842 h 6858000"/>
              <a:gd name="connsiteX74" fmla="*/ 10851293 w 12192000"/>
              <a:gd name="connsiteY74" fmla="*/ 677094 h 6858000"/>
              <a:gd name="connsiteX75" fmla="*/ 10937919 w 12192000"/>
              <a:gd name="connsiteY75" fmla="*/ 677094 h 6858000"/>
              <a:gd name="connsiteX76" fmla="*/ 10937919 w 12192000"/>
              <a:gd name="connsiteY76" fmla="*/ 642617 h 6858000"/>
              <a:gd name="connsiteX77" fmla="*/ 10799415 w 12192000"/>
              <a:gd name="connsiteY77" fmla="*/ 642617 h 6858000"/>
              <a:gd name="connsiteX78" fmla="*/ 10661074 w 12192000"/>
              <a:gd name="connsiteY78" fmla="*/ 642617 h 6858000"/>
              <a:gd name="connsiteX79" fmla="*/ 10661074 w 12192000"/>
              <a:gd name="connsiteY79" fmla="*/ 850075 h 6858000"/>
              <a:gd name="connsiteX80" fmla="*/ 10712952 w 12192000"/>
              <a:gd name="connsiteY80" fmla="*/ 850075 h 6858000"/>
              <a:gd name="connsiteX81" fmla="*/ 10712952 w 12192000"/>
              <a:gd name="connsiteY81" fmla="*/ 642617 h 6858000"/>
              <a:gd name="connsiteX82" fmla="*/ 10539971 w 12192000"/>
              <a:gd name="connsiteY82" fmla="*/ 642617 h 6858000"/>
              <a:gd name="connsiteX83" fmla="*/ 10470746 w 12192000"/>
              <a:gd name="connsiteY83" fmla="*/ 850075 h 6858000"/>
              <a:gd name="connsiteX84" fmla="*/ 10522624 w 12192000"/>
              <a:gd name="connsiteY84" fmla="*/ 850075 h 6858000"/>
              <a:gd name="connsiteX85" fmla="*/ 10548563 w 12192000"/>
              <a:gd name="connsiteY85" fmla="*/ 781067 h 6858000"/>
              <a:gd name="connsiteX86" fmla="*/ 10583311 w 12192000"/>
              <a:gd name="connsiteY86" fmla="*/ 781067 h 6858000"/>
              <a:gd name="connsiteX87" fmla="*/ 10583311 w 12192000"/>
              <a:gd name="connsiteY87" fmla="*/ 850075 h 6858000"/>
              <a:gd name="connsiteX88" fmla="*/ 10635189 w 12192000"/>
              <a:gd name="connsiteY88" fmla="*/ 850075 h 6858000"/>
              <a:gd name="connsiteX89" fmla="*/ 10635189 w 12192000"/>
              <a:gd name="connsiteY89" fmla="*/ 642617 h 6858000"/>
              <a:gd name="connsiteX90" fmla="*/ 10159370 w 12192000"/>
              <a:gd name="connsiteY90" fmla="*/ 642563 h 6858000"/>
              <a:gd name="connsiteX91" fmla="*/ 10210978 w 12192000"/>
              <a:gd name="connsiteY91" fmla="*/ 694225 h 6858000"/>
              <a:gd name="connsiteX92" fmla="*/ 10159370 w 12192000"/>
              <a:gd name="connsiteY92" fmla="*/ 745995 h 6858000"/>
              <a:gd name="connsiteX93" fmla="*/ 10107763 w 12192000"/>
              <a:gd name="connsiteY93" fmla="*/ 694225 h 6858000"/>
              <a:gd name="connsiteX94" fmla="*/ 10159370 w 12192000"/>
              <a:gd name="connsiteY94" fmla="*/ 538699 h 6858000"/>
              <a:gd name="connsiteX95" fmla="*/ 9951588 w 12192000"/>
              <a:gd name="connsiteY95" fmla="*/ 746049 h 6858000"/>
              <a:gd name="connsiteX96" fmla="*/ 10003574 w 12192000"/>
              <a:gd name="connsiteY96" fmla="*/ 797927 h 6858000"/>
              <a:gd name="connsiteX97" fmla="*/ 10055722 w 12192000"/>
              <a:gd name="connsiteY97" fmla="*/ 746211 h 6858000"/>
              <a:gd name="connsiteX98" fmla="*/ 10107492 w 12192000"/>
              <a:gd name="connsiteY98" fmla="*/ 798198 h 6858000"/>
              <a:gd name="connsiteX99" fmla="*/ 10055398 w 12192000"/>
              <a:gd name="connsiteY99" fmla="*/ 850292 h 6858000"/>
              <a:gd name="connsiteX100" fmla="*/ 10107492 w 12192000"/>
              <a:gd name="connsiteY100" fmla="*/ 901846 h 6858000"/>
              <a:gd name="connsiteX101" fmla="*/ 10158398 w 12192000"/>
              <a:gd name="connsiteY101" fmla="*/ 850130 h 6858000"/>
              <a:gd name="connsiteX102" fmla="*/ 10211411 w 12192000"/>
              <a:gd name="connsiteY102" fmla="*/ 901846 h 6858000"/>
              <a:gd name="connsiteX103" fmla="*/ 10263073 w 12192000"/>
              <a:gd name="connsiteY103" fmla="*/ 850130 h 6858000"/>
              <a:gd name="connsiteX104" fmla="*/ 10211411 w 12192000"/>
              <a:gd name="connsiteY104" fmla="*/ 798468 h 6858000"/>
              <a:gd name="connsiteX105" fmla="*/ 10263613 w 12192000"/>
              <a:gd name="connsiteY105" fmla="*/ 746211 h 6858000"/>
              <a:gd name="connsiteX106" fmla="*/ 10315221 w 12192000"/>
              <a:gd name="connsiteY106" fmla="*/ 797927 h 6858000"/>
              <a:gd name="connsiteX107" fmla="*/ 10366937 w 12192000"/>
              <a:gd name="connsiteY107" fmla="*/ 746211 h 6858000"/>
              <a:gd name="connsiteX108" fmla="*/ 0 w 12192000"/>
              <a:gd name="connsiteY108" fmla="*/ 0 h 6858000"/>
              <a:gd name="connsiteX109" fmla="*/ 12192000 w 12192000"/>
              <a:gd name="connsiteY109" fmla="*/ 0 h 6858000"/>
              <a:gd name="connsiteX110" fmla="*/ 12192000 w 12192000"/>
              <a:gd name="connsiteY110" fmla="*/ 6858000 h 6858000"/>
              <a:gd name="connsiteX111" fmla="*/ 0 w 12192000"/>
              <a:gd name="connsiteY111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</a:cxnLst>
            <a:rect l="l" t="t" r="r" b="b"/>
            <a:pathLst>
              <a:path w="12192000" h="6858000">
                <a:moveTo>
                  <a:pt x="11257942" y="746373"/>
                </a:moveTo>
                <a:lnTo>
                  <a:pt x="11292689" y="746373"/>
                </a:lnTo>
                <a:lnTo>
                  <a:pt x="11292689" y="815598"/>
                </a:lnTo>
                <a:lnTo>
                  <a:pt x="11257942" y="815598"/>
                </a:lnTo>
                <a:close/>
                <a:moveTo>
                  <a:pt x="11206118" y="746266"/>
                </a:moveTo>
                <a:lnTo>
                  <a:pt x="11206118" y="746373"/>
                </a:lnTo>
                <a:lnTo>
                  <a:pt x="11206064" y="746373"/>
                </a:lnTo>
                <a:close/>
                <a:moveTo>
                  <a:pt x="10730352" y="746103"/>
                </a:moveTo>
                <a:lnTo>
                  <a:pt x="10730352" y="780851"/>
                </a:lnTo>
                <a:lnTo>
                  <a:pt x="10782285" y="780851"/>
                </a:lnTo>
                <a:lnTo>
                  <a:pt x="10782285" y="746103"/>
                </a:lnTo>
                <a:close/>
                <a:moveTo>
                  <a:pt x="11448323" y="711842"/>
                </a:moveTo>
                <a:lnTo>
                  <a:pt x="11448323" y="850075"/>
                </a:lnTo>
                <a:lnTo>
                  <a:pt x="11500201" y="850075"/>
                </a:lnTo>
                <a:lnTo>
                  <a:pt x="11500201" y="746373"/>
                </a:lnTo>
                <a:lnTo>
                  <a:pt x="11526140" y="746373"/>
                </a:lnTo>
                <a:lnTo>
                  <a:pt x="11526140" y="850075"/>
                </a:lnTo>
                <a:lnTo>
                  <a:pt x="11578019" y="850075"/>
                </a:lnTo>
                <a:lnTo>
                  <a:pt x="11578019" y="746373"/>
                </a:lnTo>
                <a:lnTo>
                  <a:pt x="11604012" y="746373"/>
                </a:lnTo>
                <a:lnTo>
                  <a:pt x="11604012" y="850075"/>
                </a:lnTo>
                <a:lnTo>
                  <a:pt x="11655890" y="850075"/>
                </a:lnTo>
                <a:lnTo>
                  <a:pt x="11655890" y="746373"/>
                </a:lnTo>
                <a:lnTo>
                  <a:pt x="11638759" y="711842"/>
                </a:lnTo>
                <a:lnTo>
                  <a:pt x="11448377" y="711842"/>
                </a:lnTo>
                <a:close/>
                <a:moveTo>
                  <a:pt x="11370506" y="711626"/>
                </a:moveTo>
                <a:lnTo>
                  <a:pt x="11370506" y="850075"/>
                </a:lnTo>
                <a:lnTo>
                  <a:pt x="11422438" y="850075"/>
                </a:lnTo>
                <a:lnTo>
                  <a:pt x="11422438" y="711842"/>
                </a:lnTo>
                <a:close/>
                <a:moveTo>
                  <a:pt x="10583311" y="677094"/>
                </a:moveTo>
                <a:lnTo>
                  <a:pt x="10583311" y="746373"/>
                </a:lnTo>
                <a:lnTo>
                  <a:pt x="10557101" y="746373"/>
                </a:lnTo>
                <a:close/>
                <a:moveTo>
                  <a:pt x="11370506" y="642617"/>
                </a:moveTo>
                <a:lnTo>
                  <a:pt x="11370506" y="677094"/>
                </a:lnTo>
                <a:lnTo>
                  <a:pt x="11422438" y="677094"/>
                </a:lnTo>
                <a:lnTo>
                  <a:pt x="11422438" y="642617"/>
                </a:lnTo>
                <a:close/>
                <a:moveTo>
                  <a:pt x="10799361" y="642617"/>
                </a:moveTo>
                <a:lnTo>
                  <a:pt x="10799361" y="850075"/>
                </a:lnTo>
                <a:lnTo>
                  <a:pt x="10851239" y="850075"/>
                </a:lnTo>
                <a:lnTo>
                  <a:pt x="10851239" y="746373"/>
                </a:lnTo>
                <a:lnTo>
                  <a:pt x="10886041" y="746373"/>
                </a:lnTo>
                <a:lnTo>
                  <a:pt x="10886041" y="815598"/>
                </a:lnTo>
                <a:lnTo>
                  <a:pt x="10903387" y="850075"/>
                </a:lnTo>
                <a:lnTo>
                  <a:pt x="11024544" y="850075"/>
                </a:lnTo>
                <a:lnTo>
                  <a:pt x="11024544" y="746373"/>
                </a:lnTo>
                <a:lnTo>
                  <a:pt x="11050483" y="746373"/>
                </a:lnTo>
                <a:lnTo>
                  <a:pt x="11050483" y="850075"/>
                </a:lnTo>
                <a:lnTo>
                  <a:pt x="11102307" y="850075"/>
                </a:lnTo>
                <a:lnTo>
                  <a:pt x="11102307" y="746373"/>
                </a:lnTo>
                <a:lnTo>
                  <a:pt x="11128301" y="746373"/>
                </a:lnTo>
                <a:lnTo>
                  <a:pt x="11128301" y="850075"/>
                </a:lnTo>
                <a:lnTo>
                  <a:pt x="11180179" y="850075"/>
                </a:lnTo>
                <a:lnTo>
                  <a:pt x="11180179" y="746373"/>
                </a:lnTo>
                <a:lnTo>
                  <a:pt x="11206064" y="746373"/>
                </a:lnTo>
                <a:lnTo>
                  <a:pt x="11206064" y="815598"/>
                </a:lnTo>
                <a:lnTo>
                  <a:pt x="11223464" y="850075"/>
                </a:lnTo>
                <a:lnTo>
                  <a:pt x="11344567" y="850075"/>
                </a:lnTo>
                <a:lnTo>
                  <a:pt x="11344567" y="711842"/>
                </a:lnTo>
                <a:lnTo>
                  <a:pt x="11223464" y="711842"/>
                </a:lnTo>
                <a:lnTo>
                  <a:pt x="11206118" y="746266"/>
                </a:lnTo>
                <a:lnTo>
                  <a:pt x="11206118" y="711842"/>
                </a:lnTo>
                <a:lnTo>
                  <a:pt x="11180179" y="711842"/>
                </a:lnTo>
                <a:lnTo>
                  <a:pt x="11180179" y="677094"/>
                </a:lnTo>
                <a:lnTo>
                  <a:pt x="11128301" y="677094"/>
                </a:lnTo>
                <a:lnTo>
                  <a:pt x="11128301" y="711842"/>
                </a:lnTo>
                <a:lnTo>
                  <a:pt x="11102307" y="711842"/>
                </a:lnTo>
                <a:lnTo>
                  <a:pt x="11102307" y="677094"/>
                </a:lnTo>
                <a:lnTo>
                  <a:pt x="11050483" y="677094"/>
                </a:lnTo>
                <a:lnTo>
                  <a:pt x="11050483" y="711842"/>
                </a:lnTo>
                <a:lnTo>
                  <a:pt x="10972396" y="711842"/>
                </a:lnTo>
                <a:lnTo>
                  <a:pt x="10972396" y="815544"/>
                </a:lnTo>
                <a:lnTo>
                  <a:pt x="10937919" y="815544"/>
                </a:lnTo>
                <a:lnTo>
                  <a:pt x="10937919" y="711842"/>
                </a:lnTo>
                <a:lnTo>
                  <a:pt x="10851293" y="711842"/>
                </a:lnTo>
                <a:lnTo>
                  <a:pt x="10851293" y="677094"/>
                </a:lnTo>
                <a:lnTo>
                  <a:pt x="10937919" y="677094"/>
                </a:lnTo>
                <a:lnTo>
                  <a:pt x="10937919" y="642617"/>
                </a:lnTo>
                <a:lnTo>
                  <a:pt x="10799415" y="642617"/>
                </a:lnTo>
                <a:close/>
                <a:moveTo>
                  <a:pt x="10661074" y="642617"/>
                </a:moveTo>
                <a:lnTo>
                  <a:pt x="10661074" y="850075"/>
                </a:lnTo>
                <a:lnTo>
                  <a:pt x="10712952" y="850075"/>
                </a:lnTo>
                <a:lnTo>
                  <a:pt x="10712952" y="642617"/>
                </a:lnTo>
                <a:close/>
                <a:moveTo>
                  <a:pt x="10539971" y="642617"/>
                </a:moveTo>
                <a:lnTo>
                  <a:pt x="10470746" y="850075"/>
                </a:lnTo>
                <a:lnTo>
                  <a:pt x="10522624" y="850075"/>
                </a:lnTo>
                <a:lnTo>
                  <a:pt x="10548563" y="781067"/>
                </a:lnTo>
                <a:lnTo>
                  <a:pt x="10583311" y="781067"/>
                </a:lnTo>
                <a:lnTo>
                  <a:pt x="10583311" y="850075"/>
                </a:lnTo>
                <a:lnTo>
                  <a:pt x="10635189" y="850075"/>
                </a:lnTo>
                <a:lnTo>
                  <a:pt x="10635189" y="642617"/>
                </a:lnTo>
                <a:close/>
                <a:moveTo>
                  <a:pt x="10159370" y="642563"/>
                </a:moveTo>
                <a:lnTo>
                  <a:pt x="10210978" y="694225"/>
                </a:lnTo>
                <a:lnTo>
                  <a:pt x="10159370" y="745995"/>
                </a:lnTo>
                <a:lnTo>
                  <a:pt x="10107763" y="694225"/>
                </a:lnTo>
                <a:close/>
                <a:moveTo>
                  <a:pt x="10159370" y="538699"/>
                </a:moveTo>
                <a:lnTo>
                  <a:pt x="9951588" y="746049"/>
                </a:lnTo>
                <a:lnTo>
                  <a:pt x="10003574" y="797927"/>
                </a:lnTo>
                <a:lnTo>
                  <a:pt x="10055722" y="746211"/>
                </a:lnTo>
                <a:lnTo>
                  <a:pt x="10107492" y="798198"/>
                </a:lnTo>
                <a:lnTo>
                  <a:pt x="10055398" y="850292"/>
                </a:lnTo>
                <a:lnTo>
                  <a:pt x="10107492" y="901846"/>
                </a:lnTo>
                <a:lnTo>
                  <a:pt x="10158398" y="850130"/>
                </a:lnTo>
                <a:lnTo>
                  <a:pt x="10211411" y="901846"/>
                </a:lnTo>
                <a:lnTo>
                  <a:pt x="10263073" y="850130"/>
                </a:lnTo>
                <a:lnTo>
                  <a:pt x="10211411" y="798468"/>
                </a:lnTo>
                <a:lnTo>
                  <a:pt x="10263613" y="746211"/>
                </a:lnTo>
                <a:lnTo>
                  <a:pt x="10315221" y="797927"/>
                </a:lnTo>
                <a:lnTo>
                  <a:pt x="10366937" y="746211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accent6"/>
          </a:solidFill>
        </p:spPr>
        <p:txBody>
          <a:bodyPr wrap="square">
            <a:noAutofit/>
          </a:bodyPr>
          <a:lstStyle/>
          <a:p>
            <a:r>
              <a:rPr lang="en-US"/>
              <a:t>Click to insert picture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2D61B8B-D6CA-BCE6-71B4-5C8A439C247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3109594-1B45-46DB-8A0B-416F125317D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7B82DAD-1AFC-2023-BB91-5E7F5BD2C6D0}"/>
              </a:ext>
            </a:extLst>
          </p:cNvPr>
          <p:cNvSpPr>
            <a:spLocks noGrp="1"/>
          </p:cNvSpPr>
          <p:nvPr>
            <p:ph type="dt" sz="half" idx="12"/>
          </p:nvPr>
        </p:nvSpPr>
        <p:spPr>
          <a:xfrm>
            <a:off x="10673821" y="6462506"/>
            <a:ext cx="639762" cy="12311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590787E-775F-4151-B1DC-26D9CC0B194C}" type="datetime1">
              <a:rPr lang="en-US" smtClean="0"/>
              <a:t>21/08/2025</a:t>
            </a:fld>
            <a:endParaRPr lang="en-US" dirty="0"/>
          </a:p>
        </p:txBody>
      </p:sp>
      <p:sp>
        <p:nvSpPr>
          <p:cNvPr id="8" name="Footer Placeholder 2">
            <a:extLst>
              <a:ext uri="{FF2B5EF4-FFF2-40B4-BE49-F238E27FC236}">
                <a16:creationId xmlns:a16="http://schemas.microsoft.com/office/drawing/2014/main" id="{4E7DF76B-C887-78D9-DED9-9F1A8AD7D51E}"/>
              </a:ext>
            </a:extLst>
          </p:cNvPr>
          <p:cNvSpPr>
            <a:spLocks noGrp="1"/>
          </p:cNvSpPr>
          <p:nvPr userDrawn="1">
            <p:ph type="ftr" sz="quarter" idx="10"/>
          </p:nvPr>
        </p:nvSpPr>
        <p:spPr>
          <a:xfrm>
            <a:off x="539748" y="6462506"/>
            <a:ext cx="5556251" cy="12311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Al-Futtaim Template 2025</a:t>
            </a:r>
          </a:p>
        </p:txBody>
      </p:sp>
    </p:spTree>
    <p:extLst>
      <p:ext uri="{BB962C8B-B14F-4D97-AF65-F5344CB8AC3E}">
        <p14:creationId xmlns:p14="http://schemas.microsoft.com/office/powerpoint/2010/main" val="244112766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855" userDrawn="1">
          <p15:clr>
            <a:srgbClr val="FBAE40"/>
          </p15:clr>
        </p15:guide>
        <p15:guide id="2" pos="5081" userDrawn="1">
          <p15:clr>
            <a:srgbClr val="FBAE40"/>
          </p15:clr>
        </p15:guide>
        <p15:guide id="3" orient="horz" pos="2330" userDrawn="1">
          <p15:clr>
            <a:srgbClr val="FBAE40"/>
          </p15:clr>
        </p15:guide>
        <p15:guide id="4" orient="horz" pos="2500" userDrawn="1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image Slide_light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D3A519CC-A663-F358-9865-6872EB7A1873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11257942 w 12192000"/>
              <a:gd name="connsiteY0" fmla="*/ 746373 h 6858000"/>
              <a:gd name="connsiteX1" fmla="*/ 11292689 w 12192000"/>
              <a:gd name="connsiteY1" fmla="*/ 746373 h 6858000"/>
              <a:gd name="connsiteX2" fmla="*/ 11292689 w 12192000"/>
              <a:gd name="connsiteY2" fmla="*/ 815598 h 6858000"/>
              <a:gd name="connsiteX3" fmla="*/ 11257942 w 12192000"/>
              <a:gd name="connsiteY3" fmla="*/ 815598 h 6858000"/>
              <a:gd name="connsiteX4" fmla="*/ 11206118 w 12192000"/>
              <a:gd name="connsiteY4" fmla="*/ 746266 h 6858000"/>
              <a:gd name="connsiteX5" fmla="*/ 11206118 w 12192000"/>
              <a:gd name="connsiteY5" fmla="*/ 746373 h 6858000"/>
              <a:gd name="connsiteX6" fmla="*/ 11206064 w 12192000"/>
              <a:gd name="connsiteY6" fmla="*/ 746373 h 6858000"/>
              <a:gd name="connsiteX7" fmla="*/ 10730352 w 12192000"/>
              <a:gd name="connsiteY7" fmla="*/ 746103 h 6858000"/>
              <a:gd name="connsiteX8" fmla="*/ 10730352 w 12192000"/>
              <a:gd name="connsiteY8" fmla="*/ 780851 h 6858000"/>
              <a:gd name="connsiteX9" fmla="*/ 10782285 w 12192000"/>
              <a:gd name="connsiteY9" fmla="*/ 780851 h 6858000"/>
              <a:gd name="connsiteX10" fmla="*/ 10782285 w 12192000"/>
              <a:gd name="connsiteY10" fmla="*/ 746103 h 6858000"/>
              <a:gd name="connsiteX11" fmla="*/ 11448323 w 12192000"/>
              <a:gd name="connsiteY11" fmla="*/ 711842 h 6858000"/>
              <a:gd name="connsiteX12" fmla="*/ 11448323 w 12192000"/>
              <a:gd name="connsiteY12" fmla="*/ 850075 h 6858000"/>
              <a:gd name="connsiteX13" fmla="*/ 11500201 w 12192000"/>
              <a:gd name="connsiteY13" fmla="*/ 850075 h 6858000"/>
              <a:gd name="connsiteX14" fmla="*/ 11500201 w 12192000"/>
              <a:gd name="connsiteY14" fmla="*/ 746373 h 6858000"/>
              <a:gd name="connsiteX15" fmla="*/ 11526140 w 12192000"/>
              <a:gd name="connsiteY15" fmla="*/ 746373 h 6858000"/>
              <a:gd name="connsiteX16" fmla="*/ 11526140 w 12192000"/>
              <a:gd name="connsiteY16" fmla="*/ 850075 h 6858000"/>
              <a:gd name="connsiteX17" fmla="*/ 11578019 w 12192000"/>
              <a:gd name="connsiteY17" fmla="*/ 850075 h 6858000"/>
              <a:gd name="connsiteX18" fmla="*/ 11578019 w 12192000"/>
              <a:gd name="connsiteY18" fmla="*/ 746373 h 6858000"/>
              <a:gd name="connsiteX19" fmla="*/ 11604012 w 12192000"/>
              <a:gd name="connsiteY19" fmla="*/ 746373 h 6858000"/>
              <a:gd name="connsiteX20" fmla="*/ 11604012 w 12192000"/>
              <a:gd name="connsiteY20" fmla="*/ 850075 h 6858000"/>
              <a:gd name="connsiteX21" fmla="*/ 11655890 w 12192000"/>
              <a:gd name="connsiteY21" fmla="*/ 850075 h 6858000"/>
              <a:gd name="connsiteX22" fmla="*/ 11655890 w 12192000"/>
              <a:gd name="connsiteY22" fmla="*/ 746373 h 6858000"/>
              <a:gd name="connsiteX23" fmla="*/ 11638759 w 12192000"/>
              <a:gd name="connsiteY23" fmla="*/ 711842 h 6858000"/>
              <a:gd name="connsiteX24" fmla="*/ 11448377 w 12192000"/>
              <a:gd name="connsiteY24" fmla="*/ 711842 h 6858000"/>
              <a:gd name="connsiteX25" fmla="*/ 11370506 w 12192000"/>
              <a:gd name="connsiteY25" fmla="*/ 711626 h 6858000"/>
              <a:gd name="connsiteX26" fmla="*/ 11370506 w 12192000"/>
              <a:gd name="connsiteY26" fmla="*/ 850075 h 6858000"/>
              <a:gd name="connsiteX27" fmla="*/ 11422438 w 12192000"/>
              <a:gd name="connsiteY27" fmla="*/ 850075 h 6858000"/>
              <a:gd name="connsiteX28" fmla="*/ 11422438 w 12192000"/>
              <a:gd name="connsiteY28" fmla="*/ 711842 h 6858000"/>
              <a:gd name="connsiteX29" fmla="*/ 10583311 w 12192000"/>
              <a:gd name="connsiteY29" fmla="*/ 677094 h 6858000"/>
              <a:gd name="connsiteX30" fmla="*/ 10583311 w 12192000"/>
              <a:gd name="connsiteY30" fmla="*/ 746373 h 6858000"/>
              <a:gd name="connsiteX31" fmla="*/ 10557101 w 12192000"/>
              <a:gd name="connsiteY31" fmla="*/ 746373 h 6858000"/>
              <a:gd name="connsiteX32" fmla="*/ 11370506 w 12192000"/>
              <a:gd name="connsiteY32" fmla="*/ 642617 h 6858000"/>
              <a:gd name="connsiteX33" fmla="*/ 11370506 w 12192000"/>
              <a:gd name="connsiteY33" fmla="*/ 677094 h 6858000"/>
              <a:gd name="connsiteX34" fmla="*/ 11422438 w 12192000"/>
              <a:gd name="connsiteY34" fmla="*/ 677094 h 6858000"/>
              <a:gd name="connsiteX35" fmla="*/ 11422438 w 12192000"/>
              <a:gd name="connsiteY35" fmla="*/ 642617 h 6858000"/>
              <a:gd name="connsiteX36" fmla="*/ 10799361 w 12192000"/>
              <a:gd name="connsiteY36" fmla="*/ 642617 h 6858000"/>
              <a:gd name="connsiteX37" fmla="*/ 10799361 w 12192000"/>
              <a:gd name="connsiteY37" fmla="*/ 850075 h 6858000"/>
              <a:gd name="connsiteX38" fmla="*/ 10851239 w 12192000"/>
              <a:gd name="connsiteY38" fmla="*/ 850075 h 6858000"/>
              <a:gd name="connsiteX39" fmla="*/ 10851239 w 12192000"/>
              <a:gd name="connsiteY39" fmla="*/ 746373 h 6858000"/>
              <a:gd name="connsiteX40" fmla="*/ 10886041 w 12192000"/>
              <a:gd name="connsiteY40" fmla="*/ 746373 h 6858000"/>
              <a:gd name="connsiteX41" fmla="*/ 10886041 w 12192000"/>
              <a:gd name="connsiteY41" fmla="*/ 815598 h 6858000"/>
              <a:gd name="connsiteX42" fmla="*/ 10903387 w 12192000"/>
              <a:gd name="connsiteY42" fmla="*/ 850075 h 6858000"/>
              <a:gd name="connsiteX43" fmla="*/ 11024544 w 12192000"/>
              <a:gd name="connsiteY43" fmla="*/ 850075 h 6858000"/>
              <a:gd name="connsiteX44" fmla="*/ 11024544 w 12192000"/>
              <a:gd name="connsiteY44" fmla="*/ 746373 h 6858000"/>
              <a:gd name="connsiteX45" fmla="*/ 11050483 w 12192000"/>
              <a:gd name="connsiteY45" fmla="*/ 746373 h 6858000"/>
              <a:gd name="connsiteX46" fmla="*/ 11050483 w 12192000"/>
              <a:gd name="connsiteY46" fmla="*/ 850075 h 6858000"/>
              <a:gd name="connsiteX47" fmla="*/ 11102307 w 12192000"/>
              <a:gd name="connsiteY47" fmla="*/ 850075 h 6858000"/>
              <a:gd name="connsiteX48" fmla="*/ 11102307 w 12192000"/>
              <a:gd name="connsiteY48" fmla="*/ 746373 h 6858000"/>
              <a:gd name="connsiteX49" fmla="*/ 11128301 w 12192000"/>
              <a:gd name="connsiteY49" fmla="*/ 746373 h 6858000"/>
              <a:gd name="connsiteX50" fmla="*/ 11128301 w 12192000"/>
              <a:gd name="connsiteY50" fmla="*/ 850075 h 6858000"/>
              <a:gd name="connsiteX51" fmla="*/ 11180179 w 12192000"/>
              <a:gd name="connsiteY51" fmla="*/ 850075 h 6858000"/>
              <a:gd name="connsiteX52" fmla="*/ 11180179 w 12192000"/>
              <a:gd name="connsiteY52" fmla="*/ 746373 h 6858000"/>
              <a:gd name="connsiteX53" fmla="*/ 11206064 w 12192000"/>
              <a:gd name="connsiteY53" fmla="*/ 746373 h 6858000"/>
              <a:gd name="connsiteX54" fmla="*/ 11206064 w 12192000"/>
              <a:gd name="connsiteY54" fmla="*/ 815598 h 6858000"/>
              <a:gd name="connsiteX55" fmla="*/ 11223464 w 12192000"/>
              <a:gd name="connsiteY55" fmla="*/ 850075 h 6858000"/>
              <a:gd name="connsiteX56" fmla="*/ 11344567 w 12192000"/>
              <a:gd name="connsiteY56" fmla="*/ 850075 h 6858000"/>
              <a:gd name="connsiteX57" fmla="*/ 11344567 w 12192000"/>
              <a:gd name="connsiteY57" fmla="*/ 711842 h 6858000"/>
              <a:gd name="connsiteX58" fmla="*/ 11223464 w 12192000"/>
              <a:gd name="connsiteY58" fmla="*/ 711842 h 6858000"/>
              <a:gd name="connsiteX59" fmla="*/ 11206118 w 12192000"/>
              <a:gd name="connsiteY59" fmla="*/ 746266 h 6858000"/>
              <a:gd name="connsiteX60" fmla="*/ 11206118 w 12192000"/>
              <a:gd name="connsiteY60" fmla="*/ 711842 h 6858000"/>
              <a:gd name="connsiteX61" fmla="*/ 11180179 w 12192000"/>
              <a:gd name="connsiteY61" fmla="*/ 711842 h 6858000"/>
              <a:gd name="connsiteX62" fmla="*/ 11180179 w 12192000"/>
              <a:gd name="connsiteY62" fmla="*/ 677094 h 6858000"/>
              <a:gd name="connsiteX63" fmla="*/ 11128301 w 12192000"/>
              <a:gd name="connsiteY63" fmla="*/ 677094 h 6858000"/>
              <a:gd name="connsiteX64" fmla="*/ 11128301 w 12192000"/>
              <a:gd name="connsiteY64" fmla="*/ 711842 h 6858000"/>
              <a:gd name="connsiteX65" fmla="*/ 11102307 w 12192000"/>
              <a:gd name="connsiteY65" fmla="*/ 711842 h 6858000"/>
              <a:gd name="connsiteX66" fmla="*/ 11102307 w 12192000"/>
              <a:gd name="connsiteY66" fmla="*/ 677094 h 6858000"/>
              <a:gd name="connsiteX67" fmla="*/ 11050483 w 12192000"/>
              <a:gd name="connsiteY67" fmla="*/ 677094 h 6858000"/>
              <a:gd name="connsiteX68" fmla="*/ 11050483 w 12192000"/>
              <a:gd name="connsiteY68" fmla="*/ 711842 h 6858000"/>
              <a:gd name="connsiteX69" fmla="*/ 10972396 w 12192000"/>
              <a:gd name="connsiteY69" fmla="*/ 711842 h 6858000"/>
              <a:gd name="connsiteX70" fmla="*/ 10972396 w 12192000"/>
              <a:gd name="connsiteY70" fmla="*/ 815544 h 6858000"/>
              <a:gd name="connsiteX71" fmla="*/ 10937919 w 12192000"/>
              <a:gd name="connsiteY71" fmla="*/ 815544 h 6858000"/>
              <a:gd name="connsiteX72" fmla="*/ 10937919 w 12192000"/>
              <a:gd name="connsiteY72" fmla="*/ 711842 h 6858000"/>
              <a:gd name="connsiteX73" fmla="*/ 10851293 w 12192000"/>
              <a:gd name="connsiteY73" fmla="*/ 711842 h 6858000"/>
              <a:gd name="connsiteX74" fmla="*/ 10851293 w 12192000"/>
              <a:gd name="connsiteY74" fmla="*/ 677094 h 6858000"/>
              <a:gd name="connsiteX75" fmla="*/ 10937919 w 12192000"/>
              <a:gd name="connsiteY75" fmla="*/ 677094 h 6858000"/>
              <a:gd name="connsiteX76" fmla="*/ 10937919 w 12192000"/>
              <a:gd name="connsiteY76" fmla="*/ 642617 h 6858000"/>
              <a:gd name="connsiteX77" fmla="*/ 10799415 w 12192000"/>
              <a:gd name="connsiteY77" fmla="*/ 642617 h 6858000"/>
              <a:gd name="connsiteX78" fmla="*/ 10661074 w 12192000"/>
              <a:gd name="connsiteY78" fmla="*/ 642617 h 6858000"/>
              <a:gd name="connsiteX79" fmla="*/ 10661074 w 12192000"/>
              <a:gd name="connsiteY79" fmla="*/ 850075 h 6858000"/>
              <a:gd name="connsiteX80" fmla="*/ 10712952 w 12192000"/>
              <a:gd name="connsiteY80" fmla="*/ 850075 h 6858000"/>
              <a:gd name="connsiteX81" fmla="*/ 10712952 w 12192000"/>
              <a:gd name="connsiteY81" fmla="*/ 642617 h 6858000"/>
              <a:gd name="connsiteX82" fmla="*/ 10539971 w 12192000"/>
              <a:gd name="connsiteY82" fmla="*/ 642617 h 6858000"/>
              <a:gd name="connsiteX83" fmla="*/ 10470746 w 12192000"/>
              <a:gd name="connsiteY83" fmla="*/ 850075 h 6858000"/>
              <a:gd name="connsiteX84" fmla="*/ 10522624 w 12192000"/>
              <a:gd name="connsiteY84" fmla="*/ 850075 h 6858000"/>
              <a:gd name="connsiteX85" fmla="*/ 10548563 w 12192000"/>
              <a:gd name="connsiteY85" fmla="*/ 781067 h 6858000"/>
              <a:gd name="connsiteX86" fmla="*/ 10583311 w 12192000"/>
              <a:gd name="connsiteY86" fmla="*/ 781067 h 6858000"/>
              <a:gd name="connsiteX87" fmla="*/ 10583311 w 12192000"/>
              <a:gd name="connsiteY87" fmla="*/ 850075 h 6858000"/>
              <a:gd name="connsiteX88" fmla="*/ 10635189 w 12192000"/>
              <a:gd name="connsiteY88" fmla="*/ 850075 h 6858000"/>
              <a:gd name="connsiteX89" fmla="*/ 10635189 w 12192000"/>
              <a:gd name="connsiteY89" fmla="*/ 642617 h 6858000"/>
              <a:gd name="connsiteX90" fmla="*/ 10159370 w 12192000"/>
              <a:gd name="connsiteY90" fmla="*/ 642563 h 6858000"/>
              <a:gd name="connsiteX91" fmla="*/ 10210978 w 12192000"/>
              <a:gd name="connsiteY91" fmla="*/ 694225 h 6858000"/>
              <a:gd name="connsiteX92" fmla="*/ 10159370 w 12192000"/>
              <a:gd name="connsiteY92" fmla="*/ 745995 h 6858000"/>
              <a:gd name="connsiteX93" fmla="*/ 10107763 w 12192000"/>
              <a:gd name="connsiteY93" fmla="*/ 694225 h 6858000"/>
              <a:gd name="connsiteX94" fmla="*/ 10159370 w 12192000"/>
              <a:gd name="connsiteY94" fmla="*/ 538699 h 6858000"/>
              <a:gd name="connsiteX95" fmla="*/ 9951588 w 12192000"/>
              <a:gd name="connsiteY95" fmla="*/ 746049 h 6858000"/>
              <a:gd name="connsiteX96" fmla="*/ 10003574 w 12192000"/>
              <a:gd name="connsiteY96" fmla="*/ 797927 h 6858000"/>
              <a:gd name="connsiteX97" fmla="*/ 10055722 w 12192000"/>
              <a:gd name="connsiteY97" fmla="*/ 746211 h 6858000"/>
              <a:gd name="connsiteX98" fmla="*/ 10107492 w 12192000"/>
              <a:gd name="connsiteY98" fmla="*/ 798198 h 6858000"/>
              <a:gd name="connsiteX99" fmla="*/ 10055398 w 12192000"/>
              <a:gd name="connsiteY99" fmla="*/ 850292 h 6858000"/>
              <a:gd name="connsiteX100" fmla="*/ 10107492 w 12192000"/>
              <a:gd name="connsiteY100" fmla="*/ 901846 h 6858000"/>
              <a:gd name="connsiteX101" fmla="*/ 10158398 w 12192000"/>
              <a:gd name="connsiteY101" fmla="*/ 850130 h 6858000"/>
              <a:gd name="connsiteX102" fmla="*/ 10211411 w 12192000"/>
              <a:gd name="connsiteY102" fmla="*/ 901846 h 6858000"/>
              <a:gd name="connsiteX103" fmla="*/ 10263073 w 12192000"/>
              <a:gd name="connsiteY103" fmla="*/ 850130 h 6858000"/>
              <a:gd name="connsiteX104" fmla="*/ 10211411 w 12192000"/>
              <a:gd name="connsiteY104" fmla="*/ 798468 h 6858000"/>
              <a:gd name="connsiteX105" fmla="*/ 10263613 w 12192000"/>
              <a:gd name="connsiteY105" fmla="*/ 746211 h 6858000"/>
              <a:gd name="connsiteX106" fmla="*/ 10315221 w 12192000"/>
              <a:gd name="connsiteY106" fmla="*/ 797927 h 6858000"/>
              <a:gd name="connsiteX107" fmla="*/ 10366937 w 12192000"/>
              <a:gd name="connsiteY107" fmla="*/ 746211 h 6858000"/>
              <a:gd name="connsiteX108" fmla="*/ 0 w 12192000"/>
              <a:gd name="connsiteY108" fmla="*/ 0 h 6858000"/>
              <a:gd name="connsiteX109" fmla="*/ 12192000 w 12192000"/>
              <a:gd name="connsiteY109" fmla="*/ 0 h 6858000"/>
              <a:gd name="connsiteX110" fmla="*/ 12192000 w 12192000"/>
              <a:gd name="connsiteY110" fmla="*/ 6858000 h 6858000"/>
              <a:gd name="connsiteX111" fmla="*/ 0 w 12192000"/>
              <a:gd name="connsiteY111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</a:cxnLst>
            <a:rect l="l" t="t" r="r" b="b"/>
            <a:pathLst>
              <a:path w="12192000" h="6858000">
                <a:moveTo>
                  <a:pt x="11257942" y="746373"/>
                </a:moveTo>
                <a:lnTo>
                  <a:pt x="11292689" y="746373"/>
                </a:lnTo>
                <a:lnTo>
                  <a:pt x="11292689" y="815598"/>
                </a:lnTo>
                <a:lnTo>
                  <a:pt x="11257942" y="815598"/>
                </a:lnTo>
                <a:close/>
                <a:moveTo>
                  <a:pt x="11206118" y="746266"/>
                </a:moveTo>
                <a:lnTo>
                  <a:pt x="11206118" y="746373"/>
                </a:lnTo>
                <a:lnTo>
                  <a:pt x="11206064" y="746373"/>
                </a:lnTo>
                <a:close/>
                <a:moveTo>
                  <a:pt x="10730352" y="746103"/>
                </a:moveTo>
                <a:lnTo>
                  <a:pt x="10730352" y="780851"/>
                </a:lnTo>
                <a:lnTo>
                  <a:pt x="10782285" y="780851"/>
                </a:lnTo>
                <a:lnTo>
                  <a:pt x="10782285" y="746103"/>
                </a:lnTo>
                <a:close/>
                <a:moveTo>
                  <a:pt x="11448323" y="711842"/>
                </a:moveTo>
                <a:lnTo>
                  <a:pt x="11448323" y="850075"/>
                </a:lnTo>
                <a:lnTo>
                  <a:pt x="11500201" y="850075"/>
                </a:lnTo>
                <a:lnTo>
                  <a:pt x="11500201" y="746373"/>
                </a:lnTo>
                <a:lnTo>
                  <a:pt x="11526140" y="746373"/>
                </a:lnTo>
                <a:lnTo>
                  <a:pt x="11526140" y="850075"/>
                </a:lnTo>
                <a:lnTo>
                  <a:pt x="11578019" y="850075"/>
                </a:lnTo>
                <a:lnTo>
                  <a:pt x="11578019" y="746373"/>
                </a:lnTo>
                <a:lnTo>
                  <a:pt x="11604012" y="746373"/>
                </a:lnTo>
                <a:lnTo>
                  <a:pt x="11604012" y="850075"/>
                </a:lnTo>
                <a:lnTo>
                  <a:pt x="11655890" y="850075"/>
                </a:lnTo>
                <a:lnTo>
                  <a:pt x="11655890" y="746373"/>
                </a:lnTo>
                <a:lnTo>
                  <a:pt x="11638759" y="711842"/>
                </a:lnTo>
                <a:lnTo>
                  <a:pt x="11448377" y="711842"/>
                </a:lnTo>
                <a:close/>
                <a:moveTo>
                  <a:pt x="11370506" y="711626"/>
                </a:moveTo>
                <a:lnTo>
                  <a:pt x="11370506" y="850075"/>
                </a:lnTo>
                <a:lnTo>
                  <a:pt x="11422438" y="850075"/>
                </a:lnTo>
                <a:lnTo>
                  <a:pt x="11422438" y="711842"/>
                </a:lnTo>
                <a:close/>
                <a:moveTo>
                  <a:pt x="10583311" y="677094"/>
                </a:moveTo>
                <a:lnTo>
                  <a:pt x="10583311" y="746373"/>
                </a:lnTo>
                <a:lnTo>
                  <a:pt x="10557101" y="746373"/>
                </a:lnTo>
                <a:close/>
                <a:moveTo>
                  <a:pt x="11370506" y="642617"/>
                </a:moveTo>
                <a:lnTo>
                  <a:pt x="11370506" y="677094"/>
                </a:lnTo>
                <a:lnTo>
                  <a:pt x="11422438" y="677094"/>
                </a:lnTo>
                <a:lnTo>
                  <a:pt x="11422438" y="642617"/>
                </a:lnTo>
                <a:close/>
                <a:moveTo>
                  <a:pt x="10799361" y="642617"/>
                </a:moveTo>
                <a:lnTo>
                  <a:pt x="10799361" y="850075"/>
                </a:lnTo>
                <a:lnTo>
                  <a:pt x="10851239" y="850075"/>
                </a:lnTo>
                <a:lnTo>
                  <a:pt x="10851239" y="746373"/>
                </a:lnTo>
                <a:lnTo>
                  <a:pt x="10886041" y="746373"/>
                </a:lnTo>
                <a:lnTo>
                  <a:pt x="10886041" y="815598"/>
                </a:lnTo>
                <a:lnTo>
                  <a:pt x="10903387" y="850075"/>
                </a:lnTo>
                <a:lnTo>
                  <a:pt x="11024544" y="850075"/>
                </a:lnTo>
                <a:lnTo>
                  <a:pt x="11024544" y="746373"/>
                </a:lnTo>
                <a:lnTo>
                  <a:pt x="11050483" y="746373"/>
                </a:lnTo>
                <a:lnTo>
                  <a:pt x="11050483" y="850075"/>
                </a:lnTo>
                <a:lnTo>
                  <a:pt x="11102307" y="850075"/>
                </a:lnTo>
                <a:lnTo>
                  <a:pt x="11102307" y="746373"/>
                </a:lnTo>
                <a:lnTo>
                  <a:pt x="11128301" y="746373"/>
                </a:lnTo>
                <a:lnTo>
                  <a:pt x="11128301" y="850075"/>
                </a:lnTo>
                <a:lnTo>
                  <a:pt x="11180179" y="850075"/>
                </a:lnTo>
                <a:lnTo>
                  <a:pt x="11180179" y="746373"/>
                </a:lnTo>
                <a:lnTo>
                  <a:pt x="11206064" y="746373"/>
                </a:lnTo>
                <a:lnTo>
                  <a:pt x="11206064" y="815598"/>
                </a:lnTo>
                <a:lnTo>
                  <a:pt x="11223464" y="850075"/>
                </a:lnTo>
                <a:lnTo>
                  <a:pt x="11344567" y="850075"/>
                </a:lnTo>
                <a:lnTo>
                  <a:pt x="11344567" y="711842"/>
                </a:lnTo>
                <a:lnTo>
                  <a:pt x="11223464" y="711842"/>
                </a:lnTo>
                <a:lnTo>
                  <a:pt x="11206118" y="746266"/>
                </a:lnTo>
                <a:lnTo>
                  <a:pt x="11206118" y="711842"/>
                </a:lnTo>
                <a:lnTo>
                  <a:pt x="11180179" y="711842"/>
                </a:lnTo>
                <a:lnTo>
                  <a:pt x="11180179" y="677094"/>
                </a:lnTo>
                <a:lnTo>
                  <a:pt x="11128301" y="677094"/>
                </a:lnTo>
                <a:lnTo>
                  <a:pt x="11128301" y="711842"/>
                </a:lnTo>
                <a:lnTo>
                  <a:pt x="11102307" y="711842"/>
                </a:lnTo>
                <a:lnTo>
                  <a:pt x="11102307" y="677094"/>
                </a:lnTo>
                <a:lnTo>
                  <a:pt x="11050483" y="677094"/>
                </a:lnTo>
                <a:lnTo>
                  <a:pt x="11050483" y="711842"/>
                </a:lnTo>
                <a:lnTo>
                  <a:pt x="10972396" y="711842"/>
                </a:lnTo>
                <a:lnTo>
                  <a:pt x="10972396" y="815544"/>
                </a:lnTo>
                <a:lnTo>
                  <a:pt x="10937919" y="815544"/>
                </a:lnTo>
                <a:lnTo>
                  <a:pt x="10937919" y="711842"/>
                </a:lnTo>
                <a:lnTo>
                  <a:pt x="10851293" y="711842"/>
                </a:lnTo>
                <a:lnTo>
                  <a:pt x="10851293" y="677094"/>
                </a:lnTo>
                <a:lnTo>
                  <a:pt x="10937919" y="677094"/>
                </a:lnTo>
                <a:lnTo>
                  <a:pt x="10937919" y="642617"/>
                </a:lnTo>
                <a:lnTo>
                  <a:pt x="10799415" y="642617"/>
                </a:lnTo>
                <a:close/>
                <a:moveTo>
                  <a:pt x="10661074" y="642617"/>
                </a:moveTo>
                <a:lnTo>
                  <a:pt x="10661074" y="850075"/>
                </a:lnTo>
                <a:lnTo>
                  <a:pt x="10712952" y="850075"/>
                </a:lnTo>
                <a:lnTo>
                  <a:pt x="10712952" y="642617"/>
                </a:lnTo>
                <a:close/>
                <a:moveTo>
                  <a:pt x="10539971" y="642617"/>
                </a:moveTo>
                <a:lnTo>
                  <a:pt x="10470746" y="850075"/>
                </a:lnTo>
                <a:lnTo>
                  <a:pt x="10522624" y="850075"/>
                </a:lnTo>
                <a:lnTo>
                  <a:pt x="10548563" y="781067"/>
                </a:lnTo>
                <a:lnTo>
                  <a:pt x="10583311" y="781067"/>
                </a:lnTo>
                <a:lnTo>
                  <a:pt x="10583311" y="850075"/>
                </a:lnTo>
                <a:lnTo>
                  <a:pt x="10635189" y="850075"/>
                </a:lnTo>
                <a:lnTo>
                  <a:pt x="10635189" y="642617"/>
                </a:lnTo>
                <a:close/>
                <a:moveTo>
                  <a:pt x="10159370" y="642563"/>
                </a:moveTo>
                <a:lnTo>
                  <a:pt x="10210978" y="694225"/>
                </a:lnTo>
                <a:lnTo>
                  <a:pt x="10159370" y="745995"/>
                </a:lnTo>
                <a:lnTo>
                  <a:pt x="10107763" y="694225"/>
                </a:lnTo>
                <a:close/>
                <a:moveTo>
                  <a:pt x="10159370" y="538699"/>
                </a:moveTo>
                <a:lnTo>
                  <a:pt x="9951588" y="746049"/>
                </a:lnTo>
                <a:lnTo>
                  <a:pt x="10003574" y="797927"/>
                </a:lnTo>
                <a:lnTo>
                  <a:pt x="10055722" y="746211"/>
                </a:lnTo>
                <a:lnTo>
                  <a:pt x="10107492" y="798198"/>
                </a:lnTo>
                <a:lnTo>
                  <a:pt x="10055398" y="850292"/>
                </a:lnTo>
                <a:lnTo>
                  <a:pt x="10107492" y="901846"/>
                </a:lnTo>
                <a:lnTo>
                  <a:pt x="10158398" y="850130"/>
                </a:lnTo>
                <a:lnTo>
                  <a:pt x="10211411" y="901846"/>
                </a:lnTo>
                <a:lnTo>
                  <a:pt x="10263073" y="850130"/>
                </a:lnTo>
                <a:lnTo>
                  <a:pt x="10211411" y="798468"/>
                </a:lnTo>
                <a:lnTo>
                  <a:pt x="10263613" y="746211"/>
                </a:lnTo>
                <a:lnTo>
                  <a:pt x="10315221" y="797927"/>
                </a:lnTo>
                <a:lnTo>
                  <a:pt x="10366937" y="746211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accent6"/>
          </a:solidFill>
        </p:spPr>
        <p:txBody>
          <a:bodyPr wrap="square">
            <a:noAutofit/>
          </a:bodyPr>
          <a:lstStyle/>
          <a:p>
            <a:r>
              <a:rPr lang="en-US"/>
              <a:t>Click to insert picture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2D61B8B-D6CA-BCE6-71B4-5C8A439C247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83109594-1B45-46DB-8A0B-416F125317D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7B82DAD-1AFC-2023-BB91-5E7F5BD2C6D0}"/>
              </a:ext>
            </a:extLst>
          </p:cNvPr>
          <p:cNvSpPr>
            <a:spLocks noGrp="1"/>
          </p:cNvSpPr>
          <p:nvPr>
            <p:ph type="dt" sz="half" idx="12"/>
          </p:nvPr>
        </p:nvSpPr>
        <p:spPr>
          <a:xfrm>
            <a:off x="10673821" y="6462506"/>
            <a:ext cx="639762" cy="123111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2A643353-B2AE-4624-AC98-A00AA66877BF}" type="datetime1">
              <a:rPr lang="en-US" smtClean="0"/>
              <a:t>21/08/2025</a:t>
            </a:fld>
            <a:endParaRPr lang="en-US" dirty="0"/>
          </a:p>
        </p:txBody>
      </p:sp>
      <p:sp>
        <p:nvSpPr>
          <p:cNvPr id="8" name="Footer Placeholder 2">
            <a:extLst>
              <a:ext uri="{FF2B5EF4-FFF2-40B4-BE49-F238E27FC236}">
                <a16:creationId xmlns:a16="http://schemas.microsoft.com/office/drawing/2014/main" id="{4E7DF76B-C887-78D9-DED9-9F1A8AD7D51E}"/>
              </a:ext>
            </a:extLst>
          </p:cNvPr>
          <p:cNvSpPr>
            <a:spLocks noGrp="1"/>
          </p:cNvSpPr>
          <p:nvPr userDrawn="1">
            <p:ph type="ftr" sz="quarter" idx="10"/>
          </p:nvPr>
        </p:nvSpPr>
        <p:spPr>
          <a:xfrm>
            <a:off x="539748" y="6462506"/>
            <a:ext cx="5556251" cy="123111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Al-Futtaim Template 2025</a:t>
            </a:r>
          </a:p>
        </p:txBody>
      </p:sp>
    </p:spTree>
    <p:extLst>
      <p:ext uri="{BB962C8B-B14F-4D97-AF65-F5344CB8AC3E}">
        <p14:creationId xmlns:p14="http://schemas.microsoft.com/office/powerpoint/2010/main" val="24711014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855" userDrawn="1">
          <p15:clr>
            <a:srgbClr val="FBAE40"/>
          </p15:clr>
        </p15:guide>
        <p15:guide id="2" pos="5081" userDrawn="1">
          <p15:clr>
            <a:srgbClr val="FBAE40"/>
          </p15:clr>
        </p15:guide>
        <p15:guide id="3" orient="horz" pos="2330" userDrawn="1">
          <p15:clr>
            <a:srgbClr val="FBAE40"/>
          </p15:clr>
        </p15:guide>
        <p15:guide id="4" orient="horz" pos="2500" userDrawn="1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 Slide 1_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BABAA35-1304-A3EC-A9C3-854E14C4664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Al-Futtaim Template 2025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2D61B8B-D6CA-BCE6-71B4-5C8A439C247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3109594-1B45-46DB-8A0B-416F125317D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7B82DAD-1AFC-2023-BB91-5E7F5BD2C6D0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2881A1E-2634-40E4-8D89-D5C99F0A4AD6}" type="datetime1">
              <a:rPr lang="en-US" smtClean="0"/>
              <a:t>21/08/2025</a:t>
            </a:fld>
            <a:endParaRPr lang="en-US" dirty="0"/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4206CEE7-7789-CB91-EF4D-3B100C9CE898}"/>
              </a:ext>
            </a:extLst>
          </p:cNvPr>
          <p:cNvGrpSpPr/>
          <p:nvPr userDrawn="1"/>
        </p:nvGrpSpPr>
        <p:grpSpPr bwMode="black">
          <a:xfrm>
            <a:off x="9951588" y="538699"/>
            <a:ext cx="1704301" cy="363146"/>
            <a:chOff x="9951588" y="538699"/>
            <a:chExt cx="1704301" cy="363146"/>
          </a:xfrm>
          <a:solidFill>
            <a:schemeClr val="bg1"/>
          </a:solidFill>
        </p:grpSpPr>
        <p:sp>
          <p:nvSpPr>
            <p:cNvPr id="8" name="Freeform: Shape 7">
              <a:extLst>
                <a:ext uri="{FF2B5EF4-FFF2-40B4-BE49-F238E27FC236}">
                  <a16:creationId xmlns:a16="http://schemas.microsoft.com/office/drawing/2014/main" id="{0E5AA8AB-2619-D1A1-94A8-5450D8107697}"/>
                </a:ext>
              </a:extLst>
            </p:cNvPr>
            <p:cNvSpPr/>
            <p:nvPr/>
          </p:nvSpPr>
          <p:spPr bwMode="black">
            <a:xfrm>
              <a:off x="10470746" y="642617"/>
              <a:ext cx="1185143" cy="207458"/>
            </a:xfrm>
            <a:custGeom>
              <a:avLst/>
              <a:gdLst>
                <a:gd name="connsiteX0" fmla="*/ 259606 w 1185143"/>
                <a:gd name="connsiteY0" fmla="*/ 138234 h 207458"/>
                <a:gd name="connsiteX1" fmla="*/ 311539 w 1185143"/>
                <a:gd name="connsiteY1" fmla="*/ 138234 h 207458"/>
                <a:gd name="connsiteX2" fmla="*/ 311539 w 1185143"/>
                <a:gd name="connsiteY2" fmla="*/ 103486 h 207458"/>
                <a:gd name="connsiteX3" fmla="*/ 259606 w 1185143"/>
                <a:gd name="connsiteY3" fmla="*/ 103486 h 207458"/>
                <a:gd name="connsiteX4" fmla="*/ 259606 w 1185143"/>
                <a:gd name="connsiteY4" fmla="*/ 138234 h 207458"/>
                <a:gd name="connsiteX5" fmla="*/ 787196 w 1185143"/>
                <a:gd name="connsiteY5" fmla="*/ 103756 h 207458"/>
                <a:gd name="connsiteX6" fmla="*/ 821943 w 1185143"/>
                <a:gd name="connsiteY6" fmla="*/ 103756 h 207458"/>
                <a:gd name="connsiteX7" fmla="*/ 821943 w 1185143"/>
                <a:gd name="connsiteY7" fmla="*/ 172981 h 207458"/>
                <a:gd name="connsiteX8" fmla="*/ 787196 w 1185143"/>
                <a:gd name="connsiteY8" fmla="*/ 172981 h 207458"/>
                <a:gd name="connsiteX9" fmla="*/ 787196 w 1185143"/>
                <a:gd name="connsiteY9" fmla="*/ 103756 h 207458"/>
                <a:gd name="connsiteX10" fmla="*/ 752718 w 1185143"/>
                <a:gd name="connsiteY10" fmla="*/ 69225 h 207458"/>
                <a:gd name="connsiteX11" fmla="*/ 735318 w 1185143"/>
                <a:gd name="connsiteY11" fmla="*/ 103756 h 207458"/>
                <a:gd name="connsiteX12" fmla="*/ 735318 w 1185143"/>
                <a:gd name="connsiteY12" fmla="*/ 172981 h 207458"/>
                <a:gd name="connsiteX13" fmla="*/ 752718 w 1185143"/>
                <a:gd name="connsiteY13" fmla="*/ 207458 h 207458"/>
                <a:gd name="connsiteX14" fmla="*/ 873821 w 1185143"/>
                <a:gd name="connsiteY14" fmla="*/ 207458 h 207458"/>
                <a:gd name="connsiteX15" fmla="*/ 873821 w 1185143"/>
                <a:gd name="connsiteY15" fmla="*/ 69225 h 207458"/>
                <a:gd name="connsiteX16" fmla="*/ 752718 w 1185143"/>
                <a:gd name="connsiteY16" fmla="*/ 69225 h 207458"/>
                <a:gd name="connsiteX17" fmla="*/ 977577 w 1185143"/>
                <a:gd name="connsiteY17" fmla="*/ 69225 h 207458"/>
                <a:gd name="connsiteX18" fmla="*/ 977577 w 1185143"/>
                <a:gd name="connsiteY18" fmla="*/ 207458 h 207458"/>
                <a:gd name="connsiteX19" fmla="*/ 1029455 w 1185143"/>
                <a:gd name="connsiteY19" fmla="*/ 207458 h 207458"/>
                <a:gd name="connsiteX20" fmla="*/ 1029455 w 1185143"/>
                <a:gd name="connsiteY20" fmla="*/ 103756 h 207458"/>
                <a:gd name="connsiteX21" fmla="*/ 1055394 w 1185143"/>
                <a:gd name="connsiteY21" fmla="*/ 103756 h 207458"/>
                <a:gd name="connsiteX22" fmla="*/ 1055394 w 1185143"/>
                <a:gd name="connsiteY22" fmla="*/ 207458 h 207458"/>
                <a:gd name="connsiteX23" fmla="*/ 1107273 w 1185143"/>
                <a:gd name="connsiteY23" fmla="*/ 207458 h 207458"/>
                <a:gd name="connsiteX24" fmla="*/ 1107273 w 1185143"/>
                <a:gd name="connsiteY24" fmla="*/ 103756 h 207458"/>
                <a:gd name="connsiteX25" fmla="*/ 1133266 w 1185143"/>
                <a:gd name="connsiteY25" fmla="*/ 103756 h 207458"/>
                <a:gd name="connsiteX26" fmla="*/ 1133266 w 1185143"/>
                <a:gd name="connsiteY26" fmla="*/ 207458 h 207458"/>
                <a:gd name="connsiteX27" fmla="*/ 1185144 w 1185143"/>
                <a:gd name="connsiteY27" fmla="*/ 207458 h 207458"/>
                <a:gd name="connsiteX28" fmla="*/ 1185144 w 1185143"/>
                <a:gd name="connsiteY28" fmla="*/ 103756 h 207458"/>
                <a:gd name="connsiteX29" fmla="*/ 1168013 w 1185143"/>
                <a:gd name="connsiteY29" fmla="*/ 69225 h 207458"/>
                <a:gd name="connsiteX30" fmla="*/ 977631 w 1185143"/>
                <a:gd name="connsiteY30" fmla="*/ 69225 h 207458"/>
                <a:gd name="connsiteX31" fmla="*/ 899760 w 1185143"/>
                <a:gd name="connsiteY31" fmla="*/ 207458 h 207458"/>
                <a:gd name="connsiteX32" fmla="*/ 951692 w 1185143"/>
                <a:gd name="connsiteY32" fmla="*/ 207458 h 207458"/>
                <a:gd name="connsiteX33" fmla="*/ 951692 w 1185143"/>
                <a:gd name="connsiteY33" fmla="*/ 69225 h 207458"/>
                <a:gd name="connsiteX34" fmla="*/ 899760 w 1185143"/>
                <a:gd name="connsiteY34" fmla="*/ 69009 h 207458"/>
                <a:gd name="connsiteX35" fmla="*/ 899760 w 1185143"/>
                <a:gd name="connsiteY35" fmla="*/ 207458 h 207458"/>
                <a:gd name="connsiteX36" fmla="*/ 112565 w 1185143"/>
                <a:gd name="connsiteY36" fmla="*/ 34477 h 207458"/>
                <a:gd name="connsiteX37" fmla="*/ 112565 w 1185143"/>
                <a:gd name="connsiteY37" fmla="*/ 103756 h 207458"/>
                <a:gd name="connsiteX38" fmla="*/ 86355 w 1185143"/>
                <a:gd name="connsiteY38" fmla="*/ 103756 h 207458"/>
                <a:gd name="connsiteX39" fmla="*/ 112565 w 1185143"/>
                <a:gd name="connsiteY39" fmla="*/ 34477 h 207458"/>
                <a:gd name="connsiteX40" fmla="*/ 69225 w 1185143"/>
                <a:gd name="connsiteY40" fmla="*/ 0 h 207458"/>
                <a:gd name="connsiteX41" fmla="*/ 0 w 1185143"/>
                <a:gd name="connsiteY41" fmla="*/ 207458 h 207458"/>
                <a:gd name="connsiteX42" fmla="*/ 51878 w 1185143"/>
                <a:gd name="connsiteY42" fmla="*/ 207458 h 207458"/>
                <a:gd name="connsiteX43" fmla="*/ 77817 w 1185143"/>
                <a:gd name="connsiteY43" fmla="*/ 138450 h 207458"/>
                <a:gd name="connsiteX44" fmla="*/ 112565 w 1185143"/>
                <a:gd name="connsiteY44" fmla="*/ 138450 h 207458"/>
                <a:gd name="connsiteX45" fmla="*/ 112565 w 1185143"/>
                <a:gd name="connsiteY45" fmla="*/ 207458 h 207458"/>
                <a:gd name="connsiteX46" fmla="*/ 164443 w 1185143"/>
                <a:gd name="connsiteY46" fmla="*/ 207458 h 207458"/>
                <a:gd name="connsiteX47" fmla="*/ 164443 w 1185143"/>
                <a:gd name="connsiteY47" fmla="*/ 0 h 207458"/>
                <a:gd name="connsiteX48" fmla="*/ 69225 w 1185143"/>
                <a:gd name="connsiteY48" fmla="*/ 0 h 207458"/>
                <a:gd name="connsiteX49" fmla="*/ 190328 w 1185143"/>
                <a:gd name="connsiteY49" fmla="*/ 207458 h 207458"/>
                <a:gd name="connsiteX50" fmla="*/ 242206 w 1185143"/>
                <a:gd name="connsiteY50" fmla="*/ 207458 h 207458"/>
                <a:gd name="connsiteX51" fmla="*/ 242206 w 1185143"/>
                <a:gd name="connsiteY51" fmla="*/ 0 h 207458"/>
                <a:gd name="connsiteX52" fmla="*/ 190328 w 1185143"/>
                <a:gd name="connsiteY52" fmla="*/ 0 h 207458"/>
                <a:gd name="connsiteX53" fmla="*/ 190328 w 1185143"/>
                <a:gd name="connsiteY53" fmla="*/ 207458 h 207458"/>
                <a:gd name="connsiteX54" fmla="*/ 328615 w 1185143"/>
                <a:gd name="connsiteY54" fmla="*/ 0 h 207458"/>
                <a:gd name="connsiteX55" fmla="*/ 328615 w 1185143"/>
                <a:gd name="connsiteY55" fmla="*/ 207458 h 207458"/>
                <a:gd name="connsiteX56" fmla="*/ 380493 w 1185143"/>
                <a:gd name="connsiteY56" fmla="*/ 207458 h 207458"/>
                <a:gd name="connsiteX57" fmla="*/ 380493 w 1185143"/>
                <a:gd name="connsiteY57" fmla="*/ 103756 h 207458"/>
                <a:gd name="connsiteX58" fmla="*/ 415295 w 1185143"/>
                <a:gd name="connsiteY58" fmla="*/ 103756 h 207458"/>
                <a:gd name="connsiteX59" fmla="*/ 415295 w 1185143"/>
                <a:gd name="connsiteY59" fmla="*/ 172981 h 207458"/>
                <a:gd name="connsiteX60" fmla="*/ 432641 w 1185143"/>
                <a:gd name="connsiteY60" fmla="*/ 207458 h 207458"/>
                <a:gd name="connsiteX61" fmla="*/ 553798 w 1185143"/>
                <a:gd name="connsiteY61" fmla="*/ 207458 h 207458"/>
                <a:gd name="connsiteX62" fmla="*/ 553798 w 1185143"/>
                <a:gd name="connsiteY62" fmla="*/ 103756 h 207458"/>
                <a:gd name="connsiteX63" fmla="*/ 579737 w 1185143"/>
                <a:gd name="connsiteY63" fmla="*/ 103756 h 207458"/>
                <a:gd name="connsiteX64" fmla="*/ 579737 w 1185143"/>
                <a:gd name="connsiteY64" fmla="*/ 207458 h 207458"/>
                <a:gd name="connsiteX65" fmla="*/ 631561 w 1185143"/>
                <a:gd name="connsiteY65" fmla="*/ 207458 h 207458"/>
                <a:gd name="connsiteX66" fmla="*/ 631561 w 1185143"/>
                <a:gd name="connsiteY66" fmla="*/ 103756 h 207458"/>
                <a:gd name="connsiteX67" fmla="*/ 657555 w 1185143"/>
                <a:gd name="connsiteY67" fmla="*/ 103756 h 207458"/>
                <a:gd name="connsiteX68" fmla="*/ 657555 w 1185143"/>
                <a:gd name="connsiteY68" fmla="*/ 207458 h 207458"/>
                <a:gd name="connsiteX69" fmla="*/ 709433 w 1185143"/>
                <a:gd name="connsiteY69" fmla="*/ 207458 h 207458"/>
                <a:gd name="connsiteX70" fmla="*/ 709433 w 1185143"/>
                <a:gd name="connsiteY70" fmla="*/ 103756 h 207458"/>
                <a:gd name="connsiteX71" fmla="*/ 735372 w 1185143"/>
                <a:gd name="connsiteY71" fmla="*/ 103756 h 207458"/>
                <a:gd name="connsiteX72" fmla="*/ 735372 w 1185143"/>
                <a:gd name="connsiteY72" fmla="*/ 69225 h 207458"/>
                <a:gd name="connsiteX73" fmla="*/ 709433 w 1185143"/>
                <a:gd name="connsiteY73" fmla="*/ 69225 h 207458"/>
                <a:gd name="connsiteX74" fmla="*/ 709433 w 1185143"/>
                <a:gd name="connsiteY74" fmla="*/ 34477 h 207458"/>
                <a:gd name="connsiteX75" fmla="*/ 657555 w 1185143"/>
                <a:gd name="connsiteY75" fmla="*/ 34477 h 207458"/>
                <a:gd name="connsiteX76" fmla="*/ 657555 w 1185143"/>
                <a:gd name="connsiteY76" fmla="*/ 69225 h 207458"/>
                <a:gd name="connsiteX77" fmla="*/ 631561 w 1185143"/>
                <a:gd name="connsiteY77" fmla="*/ 69225 h 207458"/>
                <a:gd name="connsiteX78" fmla="*/ 631561 w 1185143"/>
                <a:gd name="connsiteY78" fmla="*/ 34477 h 207458"/>
                <a:gd name="connsiteX79" fmla="*/ 579737 w 1185143"/>
                <a:gd name="connsiteY79" fmla="*/ 34477 h 207458"/>
                <a:gd name="connsiteX80" fmla="*/ 579737 w 1185143"/>
                <a:gd name="connsiteY80" fmla="*/ 69225 h 207458"/>
                <a:gd name="connsiteX81" fmla="*/ 501650 w 1185143"/>
                <a:gd name="connsiteY81" fmla="*/ 69225 h 207458"/>
                <a:gd name="connsiteX82" fmla="*/ 501650 w 1185143"/>
                <a:gd name="connsiteY82" fmla="*/ 172927 h 207458"/>
                <a:gd name="connsiteX83" fmla="*/ 467173 w 1185143"/>
                <a:gd name="connsiteY83" fmla="*/ 172927 h 207458"/>
                <a:gd name="connsiteX84" fmla="*/ 467173 w 1185143"/>
                <a:gd name="connsiteY84" fmla="*/ 69225 h 207458"/>
                <a:gd name="connsiteX85" fmla="*/ 380547 w 1185143"/>
                <a:gd name="connsiteY85" fmla="*/ 69225 h 207458"/>
                <a:gd name="connsiteX86" fmla="*/ 380547 w 1185143"/>
                <a:gd name="connsiteY86" fmla="*/ 34477 h 207458"/>
                <a:gd name="connsiteX87" fmla="*/ 467173 w 1185143"/>
                <a:gd name="connsiteY87" fmla="*/ 34477 h 207458"/>
                <a:gd name="connsiteX88" fmla="*/ 467173 w 1185143"/>
                <a:gd name="connsiteY88" fmla="*/ 0 h 207458"/>
                <a:gd name="connsiteX89" fmla="*/ 328669 w 1185143"/>
                <a:gd name="connsiteY89" fmla="*/ 0 h 207458"/>
                <a:gd name="connsiteX90" fmla="*/ 899760 w 1185143"/>
                <a:gd name="connsiteY90" fmla="*/ 34477 h 207458"/>
                <a:gd name="connsiteX91" fmla="*/ 951692 w 1185143"/>
                <a:gd name="connsiteY91" fmla="*/ 34477 h 207458"/>
                <a:gd name="connsiteX92" fmla="*/ 951692 w 1185143"/>
                <a:gd name="connsiteY92" fmla="*/ 0 h 207458"/>
                <a:gd name="connsiteX93" fmla="*/ 899760 w 1185143"/>
                <a:gd name="connsiteY93" fmla="*/ 0 h 207458"/>
                <a:gd name="connsiteX94" fmla="*/ 899760 w 1185143"/>
                <a:gd name="connsiteY94" fmla="*/ 34477 h 2074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</a:cxnLst>
              <a:rect l="l" t="t" r="r" b="b"/>
              <a:pathLst>
                <a:path w="1185143" h="207458">
                  <a:moveTo>
                    <a:pt x="259606" y="138234"/>
                  </a:moveTo>
                  <a:lnTo>
                    <a:pt x="311539" y="138234"/>
                  </a:lnTo>
                  <a:lnTo>
                    <a:pt x="311539" y="103486"/>
                  </a:lnTo>
                  <a:lnTo>
                    <a:pt x="259606" y="103486"/>
                  </a:lnTo>
                  <a:lnTo>
                    <a:pt x="259606" y="138234"/>
                  </a:lnTo>
                  <a:close/>
                  <a:moveTo>
                    <a:pt x="787196" y="103756"/>
                  </a:moveTo>
                  <a:lnTo>
                    <a:pt x="821943" y="103756"/>
                  </a:lnTo>
                  <a:lnTo>
                    <a:pt x="821943" y="172981"/>
                  </a:lnTo>
                  <a:lnTo>
                    <a:pt x="787196" y="172981"/>
                  </a:lnTo>
                  <a:lnTo>
                    <a:pt x="787196" y="103756"/>
                  </a:lnTo>
                  <a:close/>
                  <a:moveTo>
                    <a:pt x="752718" y="69225"/>
                  </a:moveTo>
                  <a:lnTo>
                    <a:pt x="735318" y="103756"/>
                  </a:lnTo>
                  <a:lnTo>
                    <a:pt x="735318" y="172981"/>
                  </a:lnTo>
                  <a:lnTo>
                    <a:pt x="752718" y="207458"/>
                  </a:lnTo>
                  <a:lnTo>
                    <a:pt x="873821" y="207458"/>
                  </a:lnTo>
                  <a:lnTo>
                    <a:pt x="873821" y="69225"/>
                  </a:lnTo>
                  <a:lnTo>
                    <a:pt x="752718" y="69225"/>
                  </a:lnTo>
                  <a:close/>
                  <a:moveTo>
                    <a:pt x="977577" y="69225"/>
                  </a:moveTo>
                  <a:lnTo>
                    <a:pt x="977577" y="207458"/>
                  </a:lnTo>
                  <a:lnTo>
                    <a:pt x="1029455" y="207458"/>
                  </a:lnTo>
                  <a:lnTo>
                    <a:pt x="1029455" y="103756"/>
                  </a:lnTo>
                  <a:lnTo>
                    <a:pt x="1055394" y="103756"/>
                  </a:lnTo>
                  <a:lnTo>
                    <a:pt x="1055394" y="207458"/>
                  </a:lnTo>
                  <a:lnTo>
                    <a:pt x="1107273" y="207458"/>
                  </a:lnTo>
                  <a:lnTo>
                    <a:pt x="1107273" y="103756"/>
                  </a:lnTo>
                  <a:lnTo>
                    <a:pt x="1133266" y="103756"/>
                  </a:lnTo>
                  <a:lnTo>
                    <a:pt x="1133266" y="207458"/>
                  </a:lnTo>
                  <a:lnTo>
                    <a:pt x="1185144" y="207458"/>
                  </a:lnTo>
                  <a:lnTo>
                    <a:pt x="1185144" y="103756"/>
                  </a:lnTo>
                  <a:lnTo>
                    <a:pt x="1168013" y="69225"/>
                  </a:lnTo>
                  <a:lnTo>
                    <a:pt x="977631" y="69225"/>
                  </a:lnTo>
                  <a:close/>
                  <a:moveTo>
                    <a:pt x="899760" y="207458"/>
                  </a:moveTo>
                  <a:lnTo>
                    <a:pt x="951692" y="207458"/>
                  </a:lnTo>
                  <a:lnTo>
                    <a:pt x="951692" y="69225"/>
                  </a:lnTo>
                  <a:lnTo>
                    <a:pt x="899760" y="69009"/>
                  </a:lnTo>
                  <a:lnTo>
                    <a:pt x="899760" y="207458"/>
                  </a:lnTo>
                  <a:close/>
                  <a:moveTo>
                    <a:pt x="112565" y="34477"/>
                  </a:moveTo>
                  <a:lnTo>
                    <a:pt x="112565" y="103756"/>
                  </a:lnTo>
                  <a:lnTo>
                    <a:pt x="86355" y="103756"/>
                  </a:lnTo>
                  <a:lnTo>
                    <a:pt x="112565" y="34477"/>
                  </a:lnTo>
                  <a:close/>
                  <a:moveTo>
                    <a:pt x="69225" y="0"/>
                  </a:moveTo>
                  <a:lnTo>
                    <a:pt x="0" y="207458"/>
                  </a:lnTo>
                  <a:lnTo>
                    <a:pt x="51878" y="207458"/>
                  </a:lnTo>
                  <a:lnTo>
                    <a:pt x="77817" y="138450"/>
                  </a:lnTo>
                  <a:lnTo>
                    <a:pt x="112565" y="138450"/>
                  </a:lnTo>
                  <a:lnTo>
                    <a:pt x="112565" y="207458"/>
                  </a:lnTo>
                  <a:lnTo>
                    <a:pt x="164443" y="207458"/>
                  </a:lnTo>
                  <a:lnTo>
                    <a:pt x="164443" y="0"/>
                  </a:lnTo>
                  <a:lnTo>
                    <a:pt x="69225" y="0"/>
                  </a:lnTo>
                  <a:close/>
                  <a:moveTo>
                    <a:pt x="190328" y="207458"/>
                  </a:moveTo>
                  <a:lnTo>
                    <a:pt x="242206" y="207458"/>
                  </a:lnTo>
                  <a:lnTo>
                    <a:pt x="242206" y="0"/>
                  </a:lnTo>
                  <a:lnTo>
                    <a:pt x="190328" y="0"/>
                  </a:lnTo>
                  <a:lnTo>
                    <a:pt x="190328" y="207458"/>
                  </a:lnTo>
                  <a:close/>
                  <a:moveTo>
                    <a:pt x="328615" y="0"/>
                  </a:moveTo>
                  <a:lnTo>
                    <a:pt x="328615" y="207458"/>
                  </a:lnTo>
                  <a:lnTo>
                    <a:pt x="380493" y="207458"/>
                  </a:lnTo>
                  <a:lnTo>
                    <a:pt x="380493" y="103756"/>
                  </a:lnTo>
                  <a:lnTo>
                    <a:pt x="415295" y="103756"/>
                  </a:lnTo>
                  <a:lnTo>
                    <a:pt x="415295" y="172981"/>
                  </a:lnTo>
                  <a:lnTo>
                    <a:pt x="432641" y="207458"/>
                  </a:lnTo>
                  <a:lnTo>
                    <a:pt x="553798" y="207458"/>
                  </a:lnTo>
                  <a:lnTo>
                    <a:pt x="553798" y="103756"/>
                  </a:lnTo>
                  <a:lnTo>
                    <a:pt x="579737" y="103756"/>
                  </a:lnTo>
                  <a:lnTo>
                    <a:pt x="579737" y="207458"/>
                  </a:lnTo>
                  <a:lnTo>
                    <a:pt x="631561" y="207458"/>
                  </a:lnTo>
                  <a:lnTo>
                    <a:pt x="631561" y="103756"/>
                  </a:lnTo>
                  <a:lnTo>
                    <a:pt x="657555" y="103756"/>
                  </a:lnTo>
                  <a:lnTo>
                    <a:pt x="657555" y="207458"/>
                  </a:lnTo>
                  <a:lnTo>
                    <a:pt x="709433" y="207458"/>
                  </a:lnTo>
                  <a:lnTo>
                    <a:pt x="709433" y="103756"/>
                  </a:lnTo>
                  <a:lnTo>
                    <a:pt x="735372" y="103756"/>
                  </a:lnTo>
                  <a:lnTo>
                    <a:pt x="735372" y="69225"/>
                  </a:lnTo>
                  <a:lnTo>
                    <a:pt x="709433" y="69225"/>
                  </a:lnTo>
                  <a:lnTo>
                    <a:pt x="709433" y="34477"/>
                  </a:lnTo>
                  <a:lnTo>
                    <a:pt x="657555" y="34477"/>
                  </a:lnTo>
                  <a:lnTo>
                    <a:pt x="657555" y="69225"/>
                  </a:lnTo>
                  <a:lnTo>
                    <a:pt x="631561" y="69225"/>
                  </a:lnTo>
                  <a:lnTo>
                    <a:pt x="631561" y="34477"/>
                  </a:lnTo>
                  <a:lnTo>
                    <a:pt x="579737" y="34477"/>
                  </a:lnTo>
                  <a:lnTo>
                    <a:pt x="579737" y="69225"/>
                  </a:lnTo>
                  <a:lnTo>
                    <a:pt x="501650" y="69225"/>
                  </a:lnTo>
                  <a:lnTo>
                    <a:pt x="501650" y="172927"/>
                  </a:lnTo>
                  <a:lnTo>
                    <a:pt x="467173" y="172927"/>
                  </a:lnTo>
                  <a:lnTo>
                    <a:pt x="467173" y="69225"/>
                  </a:lnTo>
                  <a:lnTo>
                    <a:pt x="380547" y="69225"/>
                  </a:lnTo>
                  <a:lnTo>
                    <a:pt x="380547" y="34477"/>
                  </a:lnTo>
                  <a:lnTo>
                    <a:pt x="467173" y="34477"/>
                  </a:lnTo>
                  <a:lnTo>
                    <a:pt x="467173" y="0"/>
                  </a:lnTo>
                  <a:lnTo>
                    <a:pt x="328669" y="0"/>
                  </a:lnTo>
                  <a:close/>
                  <a:moveTo>
                    <a:pt x="899760" y="34477"/>
                  </a:moveTo>
                  <a:lnTo>
                    <a:pt x="951692" y="34477"/>
                  </a:lnTo>
                  <a:lnTo>
                    <a:pt x="951692" y="0"/>
                  </a:lnTo>
                  <a:lnTo>
                    <a:pt x="899760" y="0"/>
                  </a:lnTo>
                  <a:lnTo>
                    <a:pt x="899760" y="34477"/>
                  </a:lnTo>
                  <a:close/>
                </a:path>
              </a:pathLst>
            </a:custGeom>
            <a:grpFill/>
            <a:ln w="538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" name="Freeform: Shape 8">
              <a:extLst>
                <a:ext uri="{FF2B5EF4-FFF2-40B4-BE49-F238E27FC236}">
                  <a16:creationId xmlns:a16="http://schemas.microsoft.com/office/drawing/2014/main" id="{4B16180B-1850-72D4-B81C-33C05B2769E8}"/>
                </a:ext>
              </a:extLst>
            </p:cNvPr>
            <p:cNvSpPr/>
            <p:nvPr/>
          </p:nvSpPr>
          <p:spPr bwMode="black">
            <a:xfrm>
              <a:off x="9951588" y="538699"/>
              <a:ext cx="415348" cy="363146"/>
            </a:xfrm>
            <a:custGeom>
              <a:avLst/>
              <a:gdLst>
                <a:gd name="connsiteX0" fmla="*/ 156175 w 415348"/>
                <a:gd name="connsiteY0" fmla="*/ 155526 h 363146"/>
                <a:gd name="connsiteX1" fmla="*/ 207782 w 415348"/>
                <a:gd name="connsiteY1" fmla="*/ 103864 h 363146"/>
                <a:gd name="connsiteX2" fmla="*/ 259390 w 415348"/>
                <a:gd name="connsiteY2" fmla="*/ 155526 h 363146"/>
                <a:gd name="connsiteX3" fmla="*/ 207782 w 415348"/>
                <a:gd name="connsiteY3" fmla="*/ 207296 h 363146"/>
                <a:gd name="connsiteX4" fmla="*/ 156175 w 415348"/>
                <a:gd name="connsiteY4" fmla="*/ 155526 h 363146"/>
                <a:gd name="connsiteX5" fmla="*/ 207782 w 415348"/>
                <a:gd name="connsiteY5" fmla="*/ 0 h 363146"/>
                <a:gd name="connsiteX6" fmla="*/ 0 w 415348"/>
                <a:gd name="connsiteY6" fmla="*/ 207350 h 363146"/>
                <a:gd name="connsiteX7" fmla="*/ 51986 w 415348"/>
                <a:gd name="connsiteY7" fmla="*/ 259228 h 363146"/>
                <a:gd name="connsiteX8" fmla="*/ 104134 w 415348"/>
                <a:gd name="connsiteY8" fmla="*/ 207512 h 363146"/>
                <a:gd name="connsiteX9" fmla="*/ 155904 w 415348"/>
                <a:gd name="connsiteY9" fmla="*/ 259499 h 363146"/>
                <a:gd name="connsiteX10" fmla="*/ 103810 w 415348"/>
                <a:gd name="connsiteY10" fmla="*/ 311593 h 363146"/>
                <a:gd name="connsiteX11" fmla="*/ 155904 w 415348"/>
                <a:gd name="connsiteY11" fmla="*/ 363147 h 363146"/>
                <a:gd name="connsiteX12" fmla="*/ 206810 w 415348"/>
                <a:gd name="connsiteY12" fmla="*/ 311431 h 363146"/>
                <a:gd name="connsiteX13" fmla="*/ 259823 w 415348"/>
                <a:gd name="connsiteY13" fmla="*/ 363147 h 363146"/>
                <a:gd name="connsiteX14" fmla="*/ 311485 w 415348"/>
                <a:gd name="connsiteY14" fmla="*/ 311431 h 363146"/>
                <a:gd name="connsiteX15" fmla="*/ 259823 w 415348"/>
                <a:gd name="connsiteY15" fmla="*/ 259769 h 363146"/>
                <a:gd name="connsiteX16" fmla="*/ 312025 w 415348"/>
                <a:gd name="connsiteY16" fmla="*/ 207512 h 363146"/>
                <a:gd name="connsiteX17" fmla="*/ 363633 w 415348"/>
                <a:gd name="connsiteY17" fmla="*/ 259228 h 363146"/>
                <a:gd name="connsiteX18" fmla="*/ 415349 w 415348"/>
                <a:gd name="connsiteY18" fmla="*/ 207512 h 363146"/>
                <a:gd name="connsiteX19" fmla="*/ 207782 w 415348"/>
                <a:gd name="connsiteY19" fmla="*/ 0 h 3631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415348" h="363146">
                  <a:moveTo>
                    <a:pt x="156175" y="155526"/>
                  </a:moveTo>
                  <a:lnTo>
                    <a:pt x="207782" y="103864"/>
                  </a:lnTo>
                  <a:lnTo>
                    <a:pt x="259390" y="155526"/>
                  </a:lnTo>
                  <a:lnTo>
                    <a:pt x="207782" y="207296"/>
                  </a:lnTo>
                  <a:lnTo>
                    <a:pt x="156175" y="155526"/>
                  </a:lnTo>
                  <a:close/>
                  <a:moveTo>
                    <a:pt x="207782" y="0"/>
                  </a:moveTo>
                  <a:lnTo>
                    <a:pt x="0" y="207350"/>
                  </a:lnTo>
                  <a:lnTo>
                    <a:pt x="51986" y="259228"/>
                  </a:lnTo>
                  <a:lnTo>
                    <a:pt x="104134" y="207512"/>
                  </a:lnTo>
                  <a:lnTo>
                    <a:pt x="155904" y="259499"/>
                  </a:lnTo>
                  <a:lnTo>
                    <a:pt x="103810" y="311593"/>
                  </a:lnTo>
                  <a:lnTo>
                    <a:pt x="155904" y="363147"/>
                  </a:lnTo>
                  <a:lnTo>
                    <a:pt x="206810" y="311431"/>
                  </a:lnTo>
                  <a:lnTo>
                    <a:pt x="259823" y="363147"/>
                  </a:lnTo>
                  <a:lnTo>
                    <a:pt x="311485" y="311431"/>
                  </a:lnTo>
                  <a:lnTo>
                    <a:pt x="259823" y="259769"/>
                  </a:lnTo>
                  <a:lnTo>
                    <a:pt x="312025" y="207512"/>
                  </a:lnTo>
                  <a:lnTo>
                    <a:pt x="363633" y="259228"/>
                  </a:lnTo>
                  <a:lnTo>
                    <a:pt x="415349" y="207512"/>
                  </a:lnTo>
                  <a:lnTo>
                    <a:pt x="207782" y="0"/>
                  </a:lnTo>
                  <a:close/>
                </a:path>
              </a:pathLst>
            </a:custGeom>
            <a:solidFill>
              <a:schemeClr val="accent2"/>
            </a:solidFill>
            <a:ln w="538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</p:grp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07848EE5-4927-B646-F0A3-D86C20D6C0A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81000" y="1344385"/>
            <a:ext cx="8289001" cy="276999"/>
          </a:xfrm>
        </p:spPr>
        <p:txBody>
          <a:bodyPr wrap="square" anchor="b">
            <a:spAutoFit/>
          </a:bodyPr>
          <a:lstStyle>
            <a:lvl1pPr>
              <a:defRPr sz="1800">
                <a:solidFill>
                  <a:schemeClr val="accent2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– Speaker Name, Company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205DEA34-11DA-DDDC-A148-9FF11F3A5A9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481000" y="2160588"/>
            <a:ext cx="10171250" cy="3884612"/>
          </a:xfrm>
        </p:spPr>
        <p:txBody>
          <a:bodyPr>
            <a:noAutofit/>
          </a:bodyPr>
          <a:lstStyle>
            <a:lvl1pPr>
              <a:defRPr sz="54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Please insert a Quote </a:t>
            </a:r>
            <a:br>
              <a:rPr lang="en-US" dirty="0"/>
            </a:br>
            <a:r>
              <a:rPr lang="en-US" dirty="0"/>
              <a:t>or a Statement!</a:t>
            </a:r>
          </a:p>
        </p:txBody>
      </p:sp>
    </p:spTree>
    <p:extLst>
      <p:ext uri="{BB962C8B-B14F-4D97-AF65-F5344CB8AC3E}">
        <p14:creationId xmlns:p14="http://schemas.microsoft.com/office/powerpoint/2010/main" val="235955920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1" userDrawn="1">
          <p15:clr>
            <a:srgbClr val="FBAE40"/>
          </p15:clr>
        </p15:guide>
        <p15:guide id="2" orient="horz" pos="1361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Page with image_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DF0B494-BA15-F2B4-DAD3-A3B2AF6C73B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39748" y="4332800"/>
            <a:ext cx="11112502" cy="498598"/>
          </a:xfrm>
        </p:spPr>
        <p:txBody>
          <a:bodyPr anchor="b">
            <a:spAutoFit/>
          </a:bodyPr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Please insert a Tit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8D95B62-3DC6-BA29-E15A-17D867C811E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39748" y="4831398"/>
            <a:ext cx="11112502" cy="276999"/>
          </a:xfrm>
        </p:spPr>
        <p:txBody>
          <a:bodyPr>
            <a:spAutoFit/>
          </a:bodyPr>
          <a:lstStyle>
            <a:lvl1pPr marL="0" indent="0" algn="l">
              <a:buNone/>
              <a:defRPr sz="1800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Division/Trading Entity Name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5F8D7363-2FCC-9FA4-5689-CD0AE7825CD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39749" y="5858230"/>
            <a:ext cx="5556251" cy="184666"/>
          </a:xfrm>
        </p:spPr>
        <p:txBody>
          <a:bodyPr anchor="b">
            <a:spAutoFit/>
          </a:bodyPr>
          <a:lstStyle>
            <a:lvl1pPr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Date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2E228A9F-E9A6-695B-D921-9A62CF784E3E}"/>
              </a:ext>
            </a:extLst>
          </p:cNvPr>
          <p:cNvGrpSpPr/>
          <p:nvPr userDrawn="1"/>
        </p:nvGrpSpPr>
        <p:grpSpPr bwMode="black">
          <a:xfrm>
            <a:off x="539261" y="3700464"/>
            <a:ext cx="1704301" cy="363146"/>
            <a:chOff x="9951588" y="538699"/>
            <a:chExt cx="1704301" cy="363146"/>
          </a:xfrm>
          <a:solidFill>
            <a:schemeClr val="bg1"/>
          </a:solidFill>
        </p:grpSpPr>
        <p:sp>
          <p:nvSpPr>
            <p:cNvPr id="5" name="Freeform: Shape 4">
              <a:extLst>
                <a:ext uri="{FF2B5EF4-FFF2-40B4-BE49-F238E27FC236}">
                  <a16:creationId xmlns:a16="http://schemas.microsoft.com/office/drawing/2014/main" id="{4647B08E-14B1-01D6-5B5D-811758E0E340}"/>
                </a:ext>
              </a:extLst>
            </p:cNvPr>
            <p:cNvSpPr/>
            <p:nvPr/>
          </p:nvSpPr>
          <p:spPr bwMode="black">
            <a:xfrm>
              <a:off x="10470746" y="642617"/>
              <a:ext cx="1185143" cy="207458"/>
            </a:xfrm>
            <a:custGeom>
              <a:avLst/>
              <a:gdLst>
                <a:gd name="connsiteX0" fmla="*/ 259606 w 1185143"/>
                <a:gd name="connsiteY0" fmla="*/ 138234 h 207458"/>
                <a:gd name="connsiteX1" fmla="*/ 311539 w 1185143"/>
                <a:gd name="connsiteY1" fmla="*/ 138234 h 207458"/>
                <a:gd name="connsiteX2" fmla="*/ 311539 w 1185143"/>
                <a:gd name="connsiteY2" fmla="*/ 103486 h 207458"/>
                <a:gd name="connsiteX3" fmla="*/ 259606 w 1185143"/>
                <a:gd name="connsiteY3" fmla="*/ 103486 h 207458"/>
                <a:gd name="connsiteX4" fmla="*/ 259606 w 1185143"/>
                <a:gd name="connsiteY4" fmla="*/ 138234 h 207458"/>
                <a:gd name="connsiteX5" fmla="*/ 787196 w 1185143"/>
                <a:gd name="connsiteY5" fmla="*/ 103756 h 207458"/>
                <a:gd name="connsiteX6" fmla="*/ 821943 w 1185143"/>
                <a:gd name="connsiteY6" fmla="*/ 103756 h 207458"/>
                <a:gd name="connsiteX7" fmla="*/ 821943 w 1185143"/>
                <a:gd name="connsiteY7" fmla="*/ 172981 h 207458"/>
                <a:gd name="connsiteX8" fmla="*/ 787196 w 1185143"/>
                <a:gd name="connsiteY8" fmla="*/ 172981 h 207458"/>
                <a:gd name="connsiteX9" fmla="*/ 787196 w 1185143"/>
                <a:gd name="connsiteY9" fmla="*/ 103756 h 207458"/>
                <a:gd name="connsiteX10" fmla="*/ 752718 w 1185143"/>
                <a:gd name="connsiteY10" fmla="*/ 69225 h 207458"/>
                <a:gd name="connsiteX11" fmla="*/ 735318 w 1185143"/>
                <a:gd name="connsiteY11" fmla="*/ 103756 h 207458"/>
                <a:gd name="connsiteX12" fmla="*/ 735318 w 1185143"/>
                <a:gd name="connsiteY12" fmla="*/ 172981 h 207458"/>
                <a:gd name="connsiteX13" fmla="*/ 752718 w 1185143"/>
                <a:gd name="connsiteY13" fmla="*/ 207458 h 207458"/>
                <a:gd name="connsiteX14" fmla="*/ 873821 w 1185143"/>
                <a:gd name="connsiteY14" fmla="*/ 207458 h 207458"/>
                <a:gd name="connsiteX15" fmla="*/ 873821 w 1185143"/>
                <a:gd name="connsiteY15" fmla="*/ 69225 h 207458"/>
                <a:gd name="connsiteX16" fmla="*/ 752718 w 1185143"/>
                <a:gd name="connsiteY16" fmla="*/ 69225 h 207458"/>
                <a:gd name="connsiteX17" fmla="*/ 977577 w 1185143"/>
                <a:gd name="connsiteY17" fmla="*/ 69225 h 207458"/>
                <a:gd name="connsiteX18" fmla="*/ 977577 w 1185143"/>
                <a:gd name="connsiteY18" fmla="*/ 207458 h 207458"/>
                <a:gd name="connsiteX19" fmla="*/ 1029455 w 1185143"/>
                <a:gd name="connsiteY19" fmla="*/ 207458 h 207458"/>
                <a:gd name="connsiteX20" fmla="*/ 1029455 w 1185143"/>
                <a:gd name="connsiteY20" fmla="*/ 103756 h 207458"/>
                <a:gd name="connsiteX21" fmla="*/ 1055394 w 1185143"/>
                <a:gd name="connsiteY21" fmla="*/ 103756 h 207458"/>
                <a:gd name="connsiteX22" fmla="*/ 1055394 w 1185143"/>
                <a:gd name="connsiteY22" fmla="*/ 207458 h 207458"/>
                <a:gd name="connsiteX23" fmla="*/ 1107273 w 1185143"/>
                <a:gd name="connsiteY23" fmla="*/ 207458 h 207458"/>
                <a:gd name="connsiteX24" fmla="*/ 1107273 w 1185143"/>
                <a:gd name="connsiteY24" fmla="*/ 103756 h 207458"/>
                <a:gd name="connsiteX25" fmla="*/ 1133266 w 1185143"/>
                <a:gd name="connsiteY25" fmla="*/ 103756 h 207458"/>
                <a:gd name="connsiteX26" fmla="*/ 1133266 w 1185143"/>
                <a:gd name="connsiteY26" fmla="*/ 207458 h 207458"/>
                <a:gd name="connsiteX27" fmla="*/ 1185144 w 1185143"/>
                <a:gd name="connsiteY27" fmla="*/ 207458 h 207458"/>
                <a:gd name="connsiteX28" fmla="*/ 1185144 w 1185143"/>
                <a:gd name="connsiteY28" fmla="*/ 103756 h 207458"/>
                <a:gd name="connsiteX29" fmla="*/ 1168013 w 1185143"/>
                <a:gd name="connsiteY29" fmla="*/ 69225 h 207458"/>
                <a:gd name="connsiteX30" fmla="*/ 977631 w 1185143"/>
                <a:gd name="connsiteY30" fmla="*/ 69225 h 207458"/>
                <a:gd name="connsiteX31" fmla="*/ 899760 w 1185143"/>
                <a:gd name="connsiteY31" fmla="*/ 207458 h 207458"/>
                <a:gd name="connsiteX32" fmla="*/ 951692 w 1185143"/>
                <a:gd name="connsiteY32" fmla="*/ 207458 h 207458"/>
                <a:gd name="connsiteX33" fmla="*/ 951692 w 1185143"/>
                <a:gd name="connsiteY33" fmla="*/ 69225 h 207458"/>
                <a:gd name="connsiteX34" fmla="*/ 899760 w 1185143"/>
                <a:gd name="connsiteY34" fmla="*/ 69009 h 207458"/>
                <a:gd name="connsiteX35" fmla="*/ 899760 w 1185143"/>
                <a:gd name="connsiteY35" fmla="*/ 207458 h 207458"/>
                <a:gd name="connsiteX36" fmla="*/ 112565 w 1185143"/>
                <a:gd name="connsiteY36" fmla="*/ 34477 h 207458"/>
                <a:gd name="connsiteX37" fmla="*/ 112565 w 1185143"/>
                <a:gd name="connsiteY37" fmla="*/ 103756 h 207458"/>
                <a:gd name="connsiteX38" fmla="*/ 86355 w 1185143"/>
                <a:gd name="connsiteY38" fmla="*/ 103756 h 207458"/>
                <a:gd name="connsiteX39" fmla="*/ 112565 w 1185143"/>
                <a:gd name="connsiteY39" fmla="*/ 34477 h 207458"/>
                <a:gd name="connsiteX40" fmla="*/ 69225 w 1185143"/>
                <a:gd name="connsiteY40" fmla="*/ 0 h 207458"/>
                <a:gd name="connsiteX41" fmla="*/ 0 w 1185143"/>
                <a:gd name="connsiteY41" fmla="*/ 207458 h 207458"/>
                <a:gd name="connsiteX42" fmla="*/ 51878 w 1185143"/>
                <a:gd name="connsiteY42" fmla="*/ 207458 h 207458"/>
                <a:gd name="connsiteX43" fmla="*/ 77817 w 1185143"/>
                <a:gd name="connsiteY43" fmla="*/ 138450 h 207458"/>
                <a:gd name="connsiteX44" fmla="*/ 112565 w 1185143"/>
                <a:gd name="connsiteY44" fmla="*/ 138450 h 207458"/>
                <a:gd name="connsiteX45" fmla="*/ 112565 w 1185143"/>
                <a:gd name="connsiteY45" fmla="*/ 207458 h 207458"/>
                <a:gd name="connsiteX46" fmla="*/ 164443 w 1185143"/>
                <a:gd name="connsiteY46" fmla="*/ 207458 h 207458"/>
                <a:gd name="connsiteX47" fmla="*/ 164443 w 1185143"/>
                <a:gd name="connsiteY47" fmla="*/ 0 h 207458"/>
                <a:gd name="connsiteX48" fmla="*/ 69225 w 1185143"/>
                <a:gd name="connsiteY48" fmla="*/ 0 h 207458"/>
                <a:gd name="connsiteX49" fmla="*/ 190328 w 1185143"/>
                <a:gd name="connsiteY49" fmla="*/ 207458 h 207458"/>
                <a:gd name="connsiteX50" fmla="*/ 242206 w 1185143"/>
                <a:gd name="connsiteY50" fmla="*/ 207458 h 207458"/>
                <a:gd name="connsiteX51" fmla="*/ 242206 w 1185143"/>
                <a:gd name="connsiteY51" fmla="*/ 0 h 207458"/>
                <a:gd name="connsiteX52" fmla="*/ 190328 w 1185143"/>
                <a:gd name="connsiteY52" fmla="*/ 0 h 207458"/>
                <a:gd name="connsiteX53" fmla="*/ 190328 w 1185143"/>
                <a:gd name="connsiteY53" fmla="*/ 207458 h 207458"/>
                <a:gd name="connsiteX54" fmla="*/ 328615 w 1185143"/>
                <a:gd name="connsiteY54" fmla="*/ 0 h 207458"/>
                <a:gd name="connsiteX55" fmla="*/ 328615 w 1185143"/>
                <a:gd name="connsiteY55" fmla="*/ 207458 h 207458"/>
                <a:gd name="connsiteX56" fmla="*/ 380493 w 1185143"/>
                <a:gd name="connsiteY56" fmla="*/ 207458 h 207458"/>
                <a:gd name="connsiteX57" fmla="*/ 380493 w 1185143"/>
                <a:gd name="connsiteY57" fmla="*/ 103756 h 207458"/>
                <a:gd name="connsiteX58" fmla="*/ 415295 w 1185143"/>
                <a:gd name="connsiteY58" fmla="*/ 103756 h 207458"/>
                <a:gd name="connsiteX59" fmla="*/ 415295 w 1185143"/>
                <a:gd name="connsiteY59" fmla="*/ 172981 h 207458"/>
                <a:gd name="connsiteX60" fmla="*/ 432641 w 1185143"/>
                <a:gd name="connsiteY60" fmla="*/ 207458 h 207458"/>
                <a:gd name="connsiteX61" fmla="*/ 553798 w 1185143"/>
                <a:gd name="connsiteY61" fmla="*/ 207458 h 207458"/>
                <a:gd name="connsiteX62" fmla="*/ 553798 w 1185143"/>
                <a:gd name="connsiteY62" fmla="*/ 103756 h 207458"/>
                <a:gd name="connsiteX63" fmla="*/ 579737 w 1185143"/>
                <a:gd name="connsiteY63" fmla="*/ 103756 h 207458"/>
                <a:gd name="connsiteX64" fmla="*/ 579737 w 1185143"/>
                <a:gd name="connsiteY64" fmla="*/ 207458 h 207458"/>
                <a:gd name="connsiteX65" fmla="*/ 631561 w 1185143"/>
                <a:gd name="connsiteY65" fmla="*/ 207458 h 207458"/>
                <a:gd name="connsiteX66" fmla="*/ 631561 w 1185143"/>
                <a:gd name="connsiteY66" fmla="*/ 103756 h 207458"/>
                <a:gd name="connsiteX67" fmla="*/ 657555 w 1185143"/>
                <a:gd name="connsiteY67" fmla="*/ 103756 h 207458"/>
                <a:gd name="connsiteX68" fmla="*/ 657555 w 1185143"/>
                <a:gd name="connsiteY68" fmla="*/ 207458 h 207458"/>
                <a:gd name="connsiteX69" fmla="*/ 709433 w 1185143"/>
                <a:gd name="connsiteY69" fmla="*/ 207458 h 207458"/>
                <a:gd name="connsiteX70" fmla="*/ 709433 w 1185143"/>
                <a:gd name="connsiteY70" fmla="*/ 103756 h 207458"/>
                <a:gd name="connsiteX71" fmla="*/ 735372 w 1185143"/>
                <a:gd name="connsiteY71" fmla="*/ 103756 h 207458"/>
                <a:gd name="connsiteX72" fmla="*/ 735372 w 1185143"/>
                <a:gd name="connsiteY72" fmla="*/ 69225 h 207458"/>
                <a:gd name="connsiteX73" fmla="*/ 709433 w 1185143"/>
                <a:gd name="connsiteY73" fmla="*/ 69225 h 207458"/>
                <a:gd name="connsiteX74" fmla="*/ 709433 w 1185143"/>
                <a:gd name="connsiteY74" fmla="*/ 34477 h 207458"/>
                <a:gd name="connsiteX75" fmla="*/ 657555 w 1185143"/>
                <a:gd name="connsiteY75" fmla="*/ 34477 h 207458"/>
                <a:gd name="connsiteX76" fmla="*/ 657555 w 1185143"/>
                <a:gd name="connsiteY76" fmla="*/ 69225 h 207458"/>
                <a:gd name="connsiteX77" fmla="*/ 631561 w 1185143"/>
                <a:gd name="connsiteY77" fmla="*/ 69225 h 207458"/>
                <a:gd name="connsiteX78" fmla="*/ 631561 w 1185143"/>
                <a:gd name="connsiteY78" fmla="*/ 34477 h 207458"/>
                <a:gd name="connsiteX79" fmla="*/ 579737 w 1185143"/>
                <a:gd name="connsiteY79" fmla="*/ 34477 h 207458"/>
                <a:gd name="connsiteX80" fmla="*/ 579737 w 1185143"/>
                <a:gd name="connsiteY80" fmla="*/ 69225 h 207458"/>
                <a:gd name="connsiteX81" fmla="*/ 501650 w 1185143"/>
                <a:gd name="connsiteY81" fmla="*/ 69225 h 207458"/>
                <a:gd name="connsiteX82" fmla="*/ 501650 w 1185143"/>
                <a:gd name="connsiteY82" fmla="*/ 172927 h 207458"/>
                <a:gd name="connsiteX83" fmla="*/ 467173 w 1185143"/>
                <a:gd name="connsiteY83" fmla="*/ 172927 h 207458"/>
                <a:gd name="connsiteX84" fmla="*/ 467173 w 1185143"/>
                <a:gd name="connsiteY84" fmla="*/ 69225 h 207458"/>
                <a:gd name="connsiteX85" fmla="*/ 380547 w 1185143"/>
                <a:gd name="connsiteY85" fmla="*/ 69225 h 207458"/>
                <a:gd name="connsiteX86" fmla="*/ 380547 w 1185143"/>
                <a:gd name="connsiteY86" fmla="*/ 34477 h 207458"/>
                <a:gd name="connsiteX87" fmla="*/ 467173 w 1185143"/>
                <a:gd name="connsiteY87" fmla="*/ 34477 h 207458"/>
                <a:gd name="connsiteX88" fmla="*/ 467173 w 1185143"/>
                <a:gd name="connsiteY88" fmla="*/ 0 h 207458"/>
                <a:gd name="connsiteX89" fmla="*/ 328669 w 1185143"/>
                <a:gd name="connsiteY89" fmla="*/ 0 h 207458"/>
                <a:gd name="connsiteX90" fmla="*/ 899760 w 1185143"/>
                <a:gd name="connsiteY90" fmla="*/ 34477 h 207458"/>
                <a:gd name="connsiteX91" fmla="*/ 951692 w 1185143"/>
                <a:gd name="connsiteY91" fmla="*/ 34477 h 207458"/>
                <a:gd name="connsiteX92" fmla="*/ 951692 w 1185143"/>
                <a:gd name="connsiteY92" fmla="*/ 0 h 207458"/>
                <a:gd name="connsiteX93" fmla="*/ 899760 w 1185143"/>
                <a:gd name="connsiteY93" fmla="*/ 0 h 207458"/>
                <a:gd name="connsiteX94" fmla="*/ 899760 w 1185143"/>
                <a:gd name="connsiteY94" fmla="*/ 34477 h 2074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</a:cxnLst>
              <a:rect l="l" t="t" r="r" b="b"/>
              <a:pathLst>
                <a:path w="1185143" h="207458">
                  <a:moveTo>
                    <a:pt x="259606" y="138234"/>
                  </a:moveTo>
                  <a:lnTo>
                    <a:pt x="311539" y="138234"/>
                  </a:lnTo>
                  <a:lnTo>
                    <a:pt x="311539" y="103486"/>
                  </a:lnTo>
                  <a:lnTo>
                    <a:pt x="259606" y="103486"/>
                  </a:lnTo>
                  <a:lnTo>
                    <a:pt x="259606" y="138234"/>
                  </a:lnTo>
                  <a:close/>
                  <a:moveTo>
                    <a:pt x="787196" y="103756"/>
                  </a:moveTo>
                  <a:lnTo>
                    <a:pt x="821943" y="103756"/>
                  </a:lnTo>
                  <a:lnTo>
                    <a:pt x="821943" y="172981"/>
                  </a:lnTo>
                  <a:lnTo>
                    <a:pt x="787196" y="172981"/>
                  </a:lnTo>
                  <a:lnTo>
                    <a:pt x="787196" y="103756"/>
                  </a:lnTo>
                  <a:close/>
                  <a:moveTo>
                    <a:pt x="752718" y="69225"/>
                  </a:moveTo>
                  <a:lnTo>
                    <a:pt x="735318" y="103756"/>
                  </a:lnTo>
                  <a:lnTo>
                    <a:pt x="735318" y="172981"/>
                  </a:lnTo>
                  <a:lnTo>
                    <a:pt x="752718" y="207458"/>
                  </a:lnTo>
                  <a:lnTo>
                    <a:pt x="873821" y="207458"/>
                  </a:lnTo>
                  <a:lnTo>
                    <a:pt x="873821" y="69225"/>
                  </a:lnTo>
                  <a:lnTo>
                    <a:pt x="752718" y="69225"/>
                  </a:lnTo>
                  <a:close/>
                  <a:moveTo>
                    <a:pt x="977577" y="69225"/>
                  </a:moveTo>
                  <a:lnTo>
                    <a:pt x="977577" y="207458"/>
                  </a:lnTo>
                  <a:lnTo>
                    <a:pt x="1029455" y="207458"/>
                  </a:lnTo>
                  <a:lnTo>
                    <a:pt x="1029455" y="103756"/>
                  </a:lnTo>
                  <a:lnTo>
                    <a:pt x="1055394" y="103756"/>
                  </a:lnTo>
                  <a:lnTo>
                    <a:pt x="1055394" y="207458"/>
                  </a:lnTo>
                  <a:lnTo>
                    <a:pt x="1107273" y="207458"/>
                  </a:lnTo>
                  <a:lnTo>
                    <a:pt x="1107273" y="103756"/>
                  </a:lnTo>
                  <a:lnTo>
                    <a:pt x="1133266" y="103756"/>
                  </a:lnTo>
                  <a:lnTo>
                    <a:pt x="1133266" y="207458"/>
                  </a:lnTo>
                  <a:lnTo>
                    <a:pt x="1185144" y="207458"/>
                  </a:lnTo>
                  <a:lnTo>
                    <a:pt x="1185144" y="103756"/>
                  </a:lnTo>
                  <a:lnTo>
                    <a:pt x="1168013" y="69225"/>
                  </a:lnTo>
                  <a:lnTo>
                    <a:pt x="977631" y="69225"/>
                  </a:lnTo>
                  <a:close/>
                  <a:moveTo>
                    <a:pt x="899760" y="207458"/>
                  </a:moveTo>
                  <a:lnTo>
                    <a:pt x="951692" y="207458"/>
                  </a:lnTo>
                  <a:lnTo>
                    <a:pt x="951692" y="69225"/>
                  </a:lnTo>
                  <a:lnTo>
                    <a:pt x="899760" y="69009"/>
                  </a:lnTo>
                  <a:lnTo>
                    <a:pt x="899760" y="207458"/>
                  </a:lnTo>
                  <a:close/>
                  <a:moveTo>
                    <a:pt x="112565" y="34477"/>
                  </a:moveTo>
                  <a:lnTo>
                    <a:pt x="112565" y="103756"/>
                  </a:lnTo>
                  <a:lnTo>
                    <a:pt x="86355" y="103756"/>
                  </a:lnTo>
                  <a:lnTo>
                    <a:pt x="112565" y="34477"/>
                  </a:lnTo>
                  <a:close/>
                  <a:moveTo>
                    <a:pt x="69225" y="0"/>
                  </a:moveTo>
                  <a:lnTo>
                    <a:pt x="0" y="207458"/>
                  </a:lnTo>
                  <a:lnTo>
                    <a:pt x="51878" y="207458"/>
                  </a:lnTo>
                  <a:lnTo>
                    <a:pt x="77817" y="138450"/>
                  </a:lnTo>
                  <a:lnTo>
                    <a:pt x="112565" y="138450"/>
                  </a:lnTo>
                  <a:lnTo>
                    <a:pt x="112565" y="207458"/>
                  </a:lnTo>
                  <a:lnTo>
                    <a:pt x="164443" y="207458"/>
                  </a:lnTo>
                  <a:lnTo>
                    <a:pt x="164443" y="0"/>
                  </a:lnTo>
                  <a:lnTo>
                    <a:pt x="69225" y="0"/>
                  </a:lnTo>
                  <a:close/>
                  <a:moveTo>
                    <a:pt x="190328" y="207458"/>
                  </a:moveTo>
                  <a:lnTo>
                    <a:pt x="242206" y="207458"/>
                  </a:lnTo>
                  <a:lnTo>
                    <a:pt x="242206" y="0"/>
                  </a:lnTo>
                  <a:lnTo>
                    <a:pt x="190328" y="0"/>
                  </a:lnTo>
                  <a:lnTo>
                    <a:pt x="190328" y="207458"/>
                  </a:lnTo>
                  <a:close/>
                  <a:moveTo>
                    <a:pt x="328615" y="0"/>
                  </a:moveTo>
                  <a:lnTo>
                    <a:pt x="328615" y="207458"/>
                  </a:lnTo>
                  <a:lnTo>
                    <a:pt x="380493" y="207458"/>
                  </a:lnTo>
                  <a:lnTo>
                    <a:pt x="380493" y="103756"/>
                  </a:lnTo>
                  <a:lnTo>
                    <a:pt x="415295" y="103756"/>
                  </a:lnTo>
                  <a:lnTo>
                    <a:pt x="415295" y="172981"/>
                  </a:lnTo>
                  <a:lnTo>
                    <a:pt x="432641" y="207458"/>
                  </a:lnTo>
                  <a:lnTo>
                    <a:pt x="553798" y="207458"/>
                  </a:lnTo>
                  <a:lnTo>
                    <a:pt x="553798" y="103756"/>
                  </a:lnTo>
                  <a:lnTo>
                    <a:pt x="579737" y="103756"/>
                  </a:lnTo>
                  <a:lnTo>
                    <a:pt x="579737" y="207458"/>
                  </a:lnTo>
                  <a:lnTo>
                    <a:pt x="631561" y="207458"/>
                  </a:lnTo>
                  <a:lnTo>
                    <a:pt x="631561" y="103756"/>
                  </a:lnTo>
                  <a:lnTo>
                    <a:pt x="657555" y="103756"/>
                  </a:lnTo>
                  <a:lnTo>
                    <a:pt x="657555" y="207458"/>
                  </a:lnTo>
                  <a:lnTo>
                    <a:pt x="709433" y="207458"/>
                  </a:lnTo>
                  <a:lnTo>
                    <a:pt x="709433" y="103756"/>
                  </a:lnTo>
                  <a:lnTo>
                    <a:pt x="735372" y="103756"/>
                  </a:lnTo>
                  <a:lnTo>
                    <a:pt x="735372" y="69225"/>
                  </a:lnTo>
                  <a:lnTo>
                    <a:pt x="709433" y="69225"/>
                  </a:lnTo>
                  <a:lnTo>
                    <a:pt x="709433" y="34477"/>
                  </a:lnTo>
                  <a:lnTo>
                    <a:pt x="657555" y="34477"/>
                  </a:lnTo>
                  <a:lnTo>
                    <a:pt x="657555" y="69225"/>
                  </a:lnTo>
                  <a:lnTo>
                    <a:pt x="631561" y="69225"/>
                  </a:lnTo>
                  <a:lnTo>
                    <a:pt x="631561" y="34477"/>
                  </a:lnTo>
                  <a:lnTo>
                    <a:pt x="579737" y="34477"/>
                  </a:lnTo>
                  <a:lnTo>
                    <a:pt x="579737" y="69225"/>
                  </a:lnTo>
                  <a:lnTo>
                    <a:pt x="501650" y="69225"/>
                  </a:lnTo>
                  <a:lnTo>
                    <a:pt x="501650" y="172927"/>
                  </a:lnTo>
                  <a:lnTo>
                    <a:pt x="467173" y="172927"/>
                  </a:lnTo>
                  <a:lnTo>
                    <a:pt x="467173" y="69225"/>
                  </a:lnTo>
                  <a:lnTo>
                    <a:pt x="380547" y="69225"/>
                  </a:lnTo>
                  <a:lnTo>
                    <a:pt x="380547" y="34477"/>
                  </a:lnTo>
                  <a:lnTo>
                    <a:pt x="467173" y="34477"/>
                  </a:lnTo>
                  <a:lnTo>
                    <a:pt x="467173" y="0"/>
                  </a:lnTo>
                  <a:lnTo>
                    <a:pt x="328669" y="0"/>
                  </a:lnTo>
                  <a:close/>
                  <a:moveTo>
                    <a:pt x="899760" y="34477"/>
                  </a:moveTo>
                  <a:lnTo>
                    <a:pt x="951692" y="34477"/>
                  </a:lnTo>
                  <a:lnTo>
                    <a:pt x="951692" y="0"/>
                  </a:lnTo>
                  <a:lnTo>
                    <a:pt x="899760" y="0"/>
                  </a:lnTo>
                  <a:lnTo>
                    <a:pt x="899760" y="34477"/>
                  </a:lnTo>
                  <a:close/>
                </a:path>
              </a:pathLst>
            </a:custGeom>
            <a:grpFill/>
            <a:ln w="538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" name="Freeform: Shape 5">
              <a:extLst>
                <a:ext uri="{FF2B5EF4-FFF2-40B4-BE49-F238E27FC236}">
                  <a16:creationId xmlns:a16="http://schemas.microsoft.com/office/drawing/2014/main" id="{05C09C97-7D6A-EB6B-7CA5-302B174E7E1E}"/>
                </a:ext>
              </a:extLst>
            </p:cNvPr>
            <p:cNvSpPr/>
            <p:nvPr/>
          </p:nvSpPr>
          <p:spPr bwMode="black">
            <a:xfrm>
              <a:off x="9951588" y="538699"/>
              <a:ext cx="415348" cy="363146"/>
            </a:xfrm>
            <a:custGeom>
              <a:avLst/>
              <a:gdLst>
                <a:gd name="connsiteX0" fmla="*/ 156175 w 415348"/>
                <a:gd name="connsiteY0" fmla="*/ 155526 h 363146"/>
                <a:gd name="connsiteX1" fmla="*/ 207782 w 415348"/>
                <a:gd name="connsiteY1" fmla="*/ 103864 h 363146"/>
                <a:gd name="connsiteX2" fmla="*/ 259390 w 415348"/>
                <a:gd name="connsiteY2" fmla="*/ 155526 h 363146"/>
                <a:gd name="connsiteX3" fmla="*/ 207782 w 415348"/>
                <a:gd name="connsiteY3" fmla="*/ 207296 h 363146"/>
                <a:gd name="connsiteX4" fmla="*/ 156175 w 415348"/>
                <a:gd name="connsiteY4" fmla="*/ 155526 h 363146"/>
                <a:gd name="connsiteX5" fmla="*/ 207782 w 415348"/>
                <a:gd name="connsiteY5" fmla="*/ 0 h 363146"/>
                <a:gd name="connsiteX6" fmla="*/ 0 w 415348"/>
                <a:gd name="connsiteY6" fmla="*/ 207350 h 363146"/>
                <a:gd name="connsiteX7" fmla="*/ 51986 w 415348"/>
                <a:gd name="connsiteY7" fmla="*/ 259228 h 363146"/>
                <a:gd name="connsiteX8" fmla="*/ 104134 w 415348"/>
                <a:gd name="connsiteY8" fmla="*/ 207512 h 363146"/>
                <a:gd name="connsiteX9" fmla="*/ 155904 w 415348"/>
                <a:gd name="connsiteY9" fmla="*/ 259499 h 363146"/>
                <a:gd name="connsiteX10" fmla="*/ 103810 w 415348"/>
                <a:gd name="connsiteY10" fmla="*/ 311593 h 363146"/>
                <a:gd name="connsiteX11" fmla="*/ 155904 w 415348"/>
                <a:gd name="connsiteY11" fmla="*/ 363147 h 363146"/>
                <a:gd name="connsiteX12" fmla="*/ 206810 w 415348"/>
                <a:gd name="connsiteY12" fmla="*/ 311431 h 363146"/>
                <a:gd name="connsiteX13" fmla="*/ 259823 w 415348"/>
                <a:gd name="connsiteY13" fmla="*/ 363147 h 363146"/>
                <a:gd name="connsiteX14" fmla="*/ 311485 w 415348"/>
                <a:gd name="connsiteY14" fmla="*/ 311431 h 363146"/>
                <a:gd name="connsiteX15" fmla="*/ 259823 w 415348"/>
                <a:gd name="connsiteY15" fmla="*/ 259769 h 363146"/>
                <a:gd name="connsiteX16" fmla="*/ 312025 w 415348"/>
                <a:gd name="connsiteY16" fmla="*/ 207512 h 363146"/>
                <a:gd name="connsiteX17" fmla="*/ 363633 w 415348"/>
                <a:gd name="connsiteY17" fmla="*/ 259228 h 363146"/>
                <a:gd name="connsiteX18" fmla="*/ 415349 w 415348"/>
                <a:gd name="connsiteY18" fmla="*/ 207512 h 363146"/>
                <a:gd name="connsiteX19" fmla="*/ 207782 w 415348"/>
                <a:gd name="connsiteY19" fmla="*/ 0 h 3631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415348" h="363146">
                  <a:moveTo>
                    <a:pt x="156175" y="155526"/>
                  </a:moveTo>
                  <a:lnTo>
                    <a:pt x="207782" y="103864"/>
                  </a:lnTo>
                  <a:lnTo>
                    <a:pt x="259390" y="155526"/>
                  </a:lnTo>
                  <a:lnTo>
                    <a:pt x="207782" y="207296"/>
                  </a:lnTo>
                  <a:lnTo>
                    <a:pt x="156175" y="155526"/>
                  </a:lnTo>
                  <a:close/>
                  <a:moveTo>
                    <a:pt x="207782" y="0"/>
                  </a:moveTo>
                  <a:lnTo>
                    <a:pt x="0" y="207350"/>
                  </a:lnTo>
                  <a:lnTo>
                    <a:pt x="51986" y="259228"/>
                  </a:lnTo>
                  <a:lnTo>
                    <a:pt x="104134" y="207512"/>
                  </a:lnTo>
                  <a:lnTo>
                    <a:pt x="155904" y="259499"/>
                  </a:lnTo>
                  <a:lnTo>
                    <a:pt x="103810" y="311593"/>
                  </a:lnTo>
                  <a:lnTo>
                    <a:pt x="155904" y="363147"/>
                  </a:lnTo>
                  <a:lnTo>
                    <a:pt x="206810" y="311431"/>
                  </a:lnTo>
                  <a:lnTo>
                    <a:pt x="259823" y="363147"/>
                  </a:lnTo>
                  <a:lnTo>
                    <a:pt x="311485" y="311431"/>
                  </a:lnTo>
                  <a:lnTo>
                    <a:pt x="259823" y="259769"/>
                  </a:lnTo>
                  <a:lnTo>
                    <a:pt x="312025" y="207512"/>
                  </a:lnTo>
                  <a:lnTo>
                    <a:pt x="363633" y="259228"/>
                  </a:lnTo>
                  <a:lnTo>
                    <a:pt x="415349" y="207512"/>
                  </a:lnTo>
                  <a:lnTo>
                    <a:pt x="207782" y="0"/>
                  </a:lnTo>
                  <a:close/>
                </a:path>
              </a:pathLst>
            </a:custGeom>
            <a:solidFill>
              <a:schemeClr val="accent2"/>
            </a:solidFill>
            <a:ln w="538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1D383AD4-FE7F-970C-622A-7ECEF38EB699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423465"/>
          </a:xfrm>
          <a:solidFill>
            <a:schemeClr val="accent6"/>
          </a:solidFill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insert 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418738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2329" userDrawn="1">
          <p15:clr>
            <a:srgbClr val="FBAE40"/>
          </p15:clr>
        </p15:guide>
        <p15:guide id="5" orient="horz" pos="2158" userDrawn="1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Slide 1_l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BABAA35-1304-A3EC-A9C3-854E14C4664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Al-Futtaim Template 2025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2D61B8B-D6CA-BCE6-71B4-5C8A439C247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83109594-1B45-46DB-8A0B-416F125317D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7B82DAD-1AFC-2023-BB91-5E7F5BD2C6D0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376566B8-54DA-4CAF-ADD3-E9282896FEE8}" type="datetime1">
              <a:rPr lang="en-US" smtClean="0"/>
              <a:t>21/08/2025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07848EE5-4927-B646-F0A3-D86C20D6C0A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81000" y="1344385"/>
            <a:ext cx="8289001" cy="276999"/>
          </a:xfrm>
        </p:spPr>
        <p:txBody>
          <a:bodyPr wrap="square" anchor="b">
            <a:spAutoFit/>
          </a:bodyPr>
          <a:lstStyle>
            <a:lvl1pPr>
              <a:defRPr sz="1800">
                <a:solidFill>
                  <a:schemeClr val="accent2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– Speaker Name, Company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205DEA34-11DA-DDDC-A148-9FF11F3A5A9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481000" y="2160588"/>
            <a:ext cx="10171250" cy="3884612"/>
          </a:xfrm>
        </p:spPr>
        <p:txBody>
          <a:bodyPr>
            <a:noAutofit/>
          </a:bodyPr>
          <a:lstStyle>
            <a:lvl1pPr>
              <a:defRPr sz="5400">
                <a:solidFill>
                  <a:schemeClr val="tx2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Please insert a Quote </a:t>
            </a:r>
            <a:br>
              <a:rPr lang="en-US" dirty="0"/>
            </a:br>
            <a:r>
              <a:rPr lang="en-US" dirty="0"/>
              <a:t>or a Statement!</a:t>
            </a:r>
          </a:p>
        </p:txBody>
      </p:sp>
    </p:spTree>
    <p:extLst>
      <p:ext uri="{BB962C8B-B14F-4D97-AF65-F5344CB8AC3E}">
        <p14:creationId xmlns:p14="http://schemas.microsoft.com/office/powerpoint/2010/main" val="7712891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1" userDrawn="1">
          <p15:clr>
            <a:srgbClr val="FBAE40"/>
          </p15:clr>
        </p15:guide>
        <p15:guide id="2" orient="horz" pos="1361" userDrawn="1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 Slide 2_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reihandform: Form 2">
            <a:extLst>
              <a:ext uri="{FF2B5EF4-FFF2-40B4-BE49-F238E27FC236}">
                <a16:creationId xmlns:a16="http://schemas.microsoft.com/office/drawing/2014/main" id="{D2A87101-705A-4EF9-CF45-5EFDF6609B7C}"/>
              </a:ext>
            </a:extLst>
          </p:cNvPr>
          <p:cNvSpPr>
            <a:spLocks/>
          </p:cNvSpPr>
          <p:nvPr userDrawn="1"/>
        </p:nvSpPr>
        <p:spPr>
          <a:xfrm flipH="1">
            <a:off x="538161" y="1"/>
            <a:ext cx="11653838" cy="6039772"/>
          </a:xfrm>
          <a:custGeom>
            <a:avLst/>
            <a:gdLst>
              <a:gd name="connsiteX0" fmla="*/ 11682411 w 11682412"/>
              <a:gd name="connsiteY0" fmla="*/ 5459452 h 6089650"/>
              <a:gd name="connsiteX1" fmla="*/ 11052213 w 11682412"/>
              <a:gd name="connsiteY1" fmla="*/ 5459452 h 6089650"/>
              <a:gd name="connsiteX2" fmla="*/ 11682411 w 11682412"/>
              <a:gd name="connsiteY2" fmla="*/ 6089650 h 6089650"/>
              <a:gd name="connsiteX3" fmla="*/ 11682412 w 11682412"/>
              <a:gd name="connsiteY3" fmla="*/ 0 h 6089650"/>
              <a:gd name="connsiteX4" fmla="*/ 0 w 11682412"/>
              <a:gd name="connsiteY4" fmla="*/ 0 h 6089650"/>
              <a:gd name="connsiteX5" fmla="*/ 0 w 11682412"/>
              <a:gd name="connsiteY5" fmla="*/ 5459451 h 6089650"/>
              <a:gd name="connsiteX6" fmla="*/ 11682412 w 11682412"/>
              <a:gd name="connsiteY6" fmla="*/ 5459451 h 60896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1682412" h="6089650">
                <a:moveTo>
                  <a:pt x="11682411" y="5459452"/>
                </a:moveTo>
                <a:lnTo>
                  <a:pt x="11052213" y="5459452"/>
                </a:lnTo>
                <a:lnTo>
                  <a:pt x="11682411" y="6089650"/>
                </a:lnTo>
                <a:close/>
                <a:moveTo>
                  <a:pt x="11682412" y="0"/>
                </a:moveTo>
                <a:lnTo>
                  <a:pt x="0" y="0"/>
                </a:lnTo>
                <a:lnTo>
                  <a:pt x="0" y="5459451"/>
                </a:lnTo>
                <a:lnTo>
                  <a:pt x="11682412" y="5459451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BABAA35-1304-A3EC-A9C3-854E14C4664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Al-Futtaim Template 2025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2D61B8B-D6CA-BCE6-71B4-5C8A439C247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3109594-1B45-46DB-8A0B-416F125317D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7B82DAD-1AFC-2023-BB91-5E7F5BD2C6D0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C414143A-543B-43DF-84FB-C94687CBCBC6}" type="datetime1">
              <a:rPr lang="en-US" smtClean="0"/>
              <a:t>21/08/2025</a:t>
            </a:fld>
            <a:endParaRPr lang="en-US" dirty="0"/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4206CEE7-7789-CB91-EF4D-3B100C9CE898}"/>
              </a:ext>
            </a:extLst>
          </p:cNvPr>
          <p:cNvGrpSpPr/>
          <p:nvPr userDrawn="1"/>
        </p:nvGrpSpPr>
        <p:grpSpPr>
          <a:xfrm>
            <a:off x="9951588" y="538699"/>
            <a:ext cx="1704301" cy="363146"/>
            <a:chOff x="9951588" y="538699"/>
            <a:chExt cx="1704301" cy="363146"/>
          </a:xfrm>
          <a:solidFill>
            <a:schemeClr val="bg1"/>
          </a:solidFill>
        </p:grpSpPr>
        <p:sp>
          <p:nvSpPr>
            <p:cNvPr id="8" name="Freeform: Shape 7">
              <a:extLst>
                <a:ext uri="{FF2B5EF4-FFF2-40B4-BE49-F238E27FC236}">
                  <a16:creationId xmlns:a16="http://schemas.microsoft.com/office/drawing/2014/main" id="{0E5AA8AB-2619-D1A1-94A8-5450D8107697}"/>
                </a:ext>
              </a:extLst>
            </p:cNvPr>
            <p:cNvSpPr/>
            <p:nvPr/>
          </p:nvSpPr>
          <p:spPr>
            <a:xfrm>
              <a:off x="10470746" y="642617"/>
              <a:ext cx="1185143" cy="207458"/>
            </a:xfrm>
            <a:custGeom>
              <a:avLst/>
              <a:gdLst>
                <a:gd name="connsiteX0" fmla="*/ 259606 w 1185143"/>
                <a:gd name="connsiteY0" fmla="*/ 138234 h 207458"/>
                <a:gd name="connsiteX1" fmla="*/ 311539 w 1185143"/>
                <a:gd name="connsiteY1" fmla="*/ 138234 h 207458"/>
                <a:gd name="connsiteX2" fmla="*/ 311539 w 1185143"/>
                <a:gd name="connsiteY2" fmla="*/ 103486 h 207458"/>
                <a:gd name="connsiteX3" fmla="*/ 259606 w 1185143"/>
                <a:gd name="connsiteY3" fmla="*/ 103486 h 207458"/>
                <a:gd name="connsiteX4" fmla="*/ 259606 w 1185143"/>
                <a:gd name="connsiteY4" fmla="*/ 138234 h 207458"/>
                <a:gd name="connsiteX5" fmla="*/ 787196 w 1185143"/>
                <a:gd name="connsiteY5" fmla="*/ 103756 h 207458"/>
                <a:gd name="connsiteX6" fmla="*/ 821943 w 1185143"/>
                <a:gd name="connsiteY6" fmla="*/ 103756 h 207458"/>
                <a:gd name="connsiteX7" fmla="*/ 821943 w 1185143"/>
                <a:gd name="connsiteY7" fmla="*/ 172981 h 207458"/>
                <a:gd name="connsiteX8" fmla="*/ 787196 w 1185143"/>
                <a:gd name="connsiteY8" fmla="*/ 172981 h 207458"/>
                <a:gd name="connsiteX9" fmla="*/ 787196 w 1185143"/>
                <a:gd name="connsiteY9" fmla="*/ 103756 h 207458"/>
                <a:gd name="connsiteX10" fmla="*/ 752718 w 1185143"/>
                <a:gd name="connsiteY10" fmla="*/ 69225 h 207458"/>
                <a:gd name="connsiteX11" fmla="*/ 735318 w 1185143"/>
                <a:gd name="connsiteY11" fmla="*/ 103756 h 207458"/>
                <a:gd name="connsiteX12" fmla="*/ 735318 w 1185143"/>
                <a:gd name="connsiteY12" fmla="*/ 172981 h 207458"/>
                <a:gd name="connsiteX13" fmla="*/ 752718 w 1185143"/>
                <a:gd name="connsiteY13" fmla="*/ 207458 h 207458"/>
                <a:gd name="connsiteX14" fmla="*/ 873821 w 1185143"/>
                <a:gd name="connsiteY14" fmla="*/ 207458 h 207458"/>
                <a:gd name="connsiteX15" fmla="*/ 873821 w 1185143"/>
                <a:gd name="connsiteY15" fmla="*/ 69225 h 207458"/>
                <a:gd name="connsiteX16" fmla="*/ 752718 w 1185143"/>
                <a:gd name="connsiteY16" fmla="*/ 69225 h 207458"/>
                <a:gd name="connsiteX17" fmla="*/ 977577 w 1185143"/>
                <a:gd name="connsiteY17" fmla="*/ 69225 h 207458"/>
                <a:gd name="connsiteX18" fmla="*/ 977577 w 1185143"/>
                <a:gd name="connsiteY18" fmla="*/ 207458 h 207458"/>
                <a:gd name="connsiteX19" fmla="*/ 1029455 w 1185143"/>
                <a:gd name="connsiteY19" fmla="*/ 207458 h 207458"/>
                <a:gd name="connsiteX20" fmla="*/ 1029455 w 1185143"/>
                <a:gd name="connsiteY20" fmla="*/ 103756 h 207458"/>
                <a:gd name="connsiteX21" fmla="*/ 1055394 w 1185143"/>
                <a:gd name="connsiteY21" fmla="*/ 103756 h 207458"/>
                <a:gd name="connsiteX22" fmla="*/ 1055394 w 1185143"/>
                <a:gd name="connsiteY22" fmla="*/ 207458 h 207458"/>
                <a:gd name="connsiteX23" fmla="*/ 1107273 w 1185143"/>
                <a:gd name="connsiteY23" fmla="*/ 207458 h 207458"/>
                <a:gd name="connsiteX24" fmla="*/ 1107273 w 1185143"/>
                <a:gd name="connsiteY24" fmla="*/ 103756 h 207458"/>
                <a:gd name="connsiteX25" fmla="*/ 1133266 w 1185143"/>
                <a:gd name="connsiteY25" fmla="*/ 103756 h 207458"/>
                <a:gd name="connsiteX26" fmla="*/ 1133266 w 1185143"/>
                <a:gd name="connsiteY26" fmla="*/ 207458 h 207458"/>
                <a:gd name="connsiteX27" fmla="*/ 1185144 w 1185143"/>
                <a:gd name="connsiteY27" fmla="*/ 207458 h 207458"/>
                <a:gd name="connsiteX28" fmla="*/ 1185144 w 1185143"/>
                <a:gd name="connsiteY28" fmla="*/ 103756 h 207458"/>
                <a:gd name="connsiteX29" fmla="*/ 1168013 w 1185143"/>
                <a:gd name="connsiteY29" fmla="*/ 69225 h 207458"/>
                <a:gd name="connsiteX30" fmla="*/ 977631 w 1185143"/>
                <a:gd name="connsiteY30" fmla="*/ 69225 h 207458"/>
                <a:gd name="connsiteX31" fmla="*/ 899760 w 1185143"/>
                <a:gd name="connsiteY31" fmla="*/ 207458 h 207458"/>
                <a:gd name="connsiteX32" fmla="*/ 951692 w 1185143"/>
                <a:gd name="connsiteY32" fmla="*/ 207458 h 207458"/>
                <a:gd name="connsiteX33" fmla="*/ 951692 w 1185143"/>
                <a:gd name="connsiteY33" fmla="*/ 69225 h 207458"/>
                <a:gd name="connsiteX34" fmla="*/ 899760 w 1185143"/>
                <a:gd name="connsiteY34" fmla="*/ 69009 h 207458"/>
                <a:gd name="connsiteX35" fmla="*/ 899760 w 1185143"/>
                <a:gd name="connsiteY35" fmla="*/ 207458 h 207458"/>
                <a:gd name="connsiteX36" fmla="*/ 112565 w 1185143"/>
                <a:gd name="connsiteY36" fmla="*/ 34477 h 207458"/>
                <a:gd name="connsiteX37" fmla="*/ 112565 w 1185143"/>
                <a:gd name="connsiteY37" fmla="*/ 103756 h 207458"/>
                <a:gd name="connsiteX38" fmla="*/ 86355 w 1185143"/>
                <a:gd name="connsiteY38" fmla="*/ 103756 h 207458"/>
                <a:gd name="connsiteX39" fmla="*/ 112565 w 1185143"/>
                <a:gd name="connsiteY39" fmla="*/ 34477 h 207458"/>
                <a:gd name="connsiteX40" fmla="*/ 69225 w 1185143"/>
                <a:gd name="connsiteY40" fmla="*/ 0 h 207458"/>
                <a:gd name="connsiteX41" fmla="*/ 0 w 1185143"/>
                <a:gd name="connsiteY41" fmla="*/ 207458 h 207458"/>
                <a:gd name="connsiteX42" fmla="*/ 51878 w 1185143"/>
                <a:gd name="connsiteY42" fmla="*/ 207458 h 207458"/>
                <a:gd name="connsiteX43" fmla="*/ 77817 w 1185143"/>
                <a:gd name="connsiteY43" fmla="*/ 138450 h 207458"/>
                <a:gd name="connsiteX44" fmla="*/ 112565 w 1185143"/>
                <a:gd name="connsiteY44" fmla="*/ 138450 h 207458"/>
                <a:gd name="connsiteX45" fmla="*/ 112565 w 1185143"/>
                <a:gd name="connsiteY45" fmla="*/ 207458 h 207458"/>
                <a:gd name="connsiteX46" fmla="*/ 164443 w 1185143"/>
                <a:gd name="connsiteY46" fmla="*/ 207458 h 207458"/>
                <a:gd name="connsiteX47" fmla="*/ 164443 w 1185143"/>
                <a:gd name="connsiteY47" fmla="*/ 0 h 207458"/>
                <a:gd name="connsiteX48" fmla="*/ 69225 w 1185143"/>
                <a:gd name="connsiteY48" fmla="*/ 0 h 207458"/>
                <a:gd name="connsiteX49" fmla="*/ 190328 w 1185143"/>
                <a:gd name="connsiteY49" fmla="*/ 207458 h 207458"/>
                <a:gd name="connsiteX50" fmla="*/ 242206 w 1185143"/>
                <a:gd name="connsiteY50" fmla="*/ 207458 h 207458"/>
                <a:gd name="connsiteX51" fmla="*/ 242206 w 1185143"/>
                <a:gd name="connsiteY51" fmla="*/ 0 h 207458"/>
                <a:gd name="connsiteX52" fmla="*/ 190328 w 1185143"/>
                <a:gd name="connsiteY52" fmla="*/ 0 h 207458"/>
                <a:gd name="connsiteX53" fmla="*/ 190328 w 1185143"/>
                <a:gd name="connsiteY53" fmla="*/ 207458 h 207458"/>
                <a:gd name="connsiteX54" fmla="*/ 328615 w 1185143"/>
                <a:gd name="connsiteY54" fmla="*/ 0 h 207458"/>
                <a:gd name="connsiteX55" fmla="*/ 328615 w 1185143"/>
                <a:gd name="connsiteY55" fmla="*/ 207458 h 207458"/>
                <a:gd name="connsiteX56" fmla="*/ 380493 w 1185143"/>
                <a:gd name="connsiteY56" fmla="*/ 207458 h 207458"/>
                <a:gd name="connsiteX57" fmla="*/ 380493 w 1185143"/>
                <a:gd name="connsiteY57" fmla="*/ 103756 h 207458"/>
                <a:gd name="connsiteX58" fmla="*/ 415295 w 1185143"/>
                <a:gd name="connsiteY58" fmla="*/ 103756 h 207458"/>
                <a:gd name="connsiteX59" fmla="*/ 415295 w 1185143"/>
                <a:gd name="connsiteY59" fmla="*/ 172981 h 207458"/>
                <a:gd name="connsiteX60" fmla="*/ 432641 w 1185143"/>
                <a:gd name="connsiteY60" fmla="*/ 207458 h 207458"/>
                <a:gd name="connsiteX61" fmla="*/ 553798 w 1185143"/>
                <a:gd name="connsiteY61" fmla="*/ 207458 h 207458"/>
                <a:gd name="connsiteX62" fmla="*/ 553798 w 1185143"/>
                <a:gd name="connsiteY62" fmla="*/ 103756 h 207458"/>
                <a:gd name="connsiteX63" fmla="*/ 579737 w 1185143"/>
                <a:gd name="connsiteY63" fmla="*/ 103756 h 207458"/>
                <a:gd name="connsiteX64" fmla="*/ 579737 w 1185143"/>
                <a:gd name="connsiteY64" fmla="*/ 207458 h 207458"/>
                <a:gd name="connsiteX65" fmla="*/ 631561 w 1185143"/>
                <a:gd name="connsiteY65" fmla="*/ 207458 h 207458"/>
                <a:gd name="connsiteX66" fmla="*/ 631561 w 1185143"/>
                <a:gd name="connsiteY66" fmla="*/ 103756 h 207458"/>
                <a:gd name="connsiteX67" fmla="*/ 657555 w 1185143"/>
                <a:gd name="connsiteY67" fmla="*/ 103756 h 207458"/>
                <a:gd name="connsiteX68" fmla="*/ 657555 w 1185143"/>
                <a:gd name="connsiteY68" fmla="*/ 207458 h 207458"/>
                <a:gd name="connsiteX69" fmla="*/ 709433 w 1185143"/>
                <a:gd name="connsiteY69" fmla="*/ 207458 h 207458"/>
                <a:gd name="connsiteX70" fmla="*/ 709433 w 1185143"/>
                <a:gd name="connsiteY70" fmla="*/ 103756 h 207458"/>
                <a:gd name="connsiteX71" fmla="*/ 735372 w 1185143"/>
                <a:gd name="connsiteY71" fmla="*/ 103756 h 207458"/>
                <a:gd name="connsiteX72" fmla="*/ 735372 w 1185143"/>
                <a:gd name="connsiteY72" fmla="*/ 69225 h 207458"/>
                <a:gd name="connsiteX73" fmla="*/ 709433 w 1185143"/>
                <a:gd name="connsiteY73" fmla="*/ 69225 h 207458"/>
                <a:gd name="connsiteX74" fmla="*/ 709433 w 1185143"/>
                <a:gd name="connsiteY74" fmla="*/ 34477 h 207458"/>
                <a:gd name="connsiteX75" fmla="*/ 657555 w 1185143"/>
                <a:gd name="connsiteY75" fmla="*/ 34477 h 207458"/>
                <a:gd name="connsiteX76" fmla="*/ 657555 w 1185143"/>
                <a:gd name="connsiteY76" fmla="*/ 69225 h 207458"/>
                <a:gd name="connsiteX77" fmla="*/ 631561 w 1185143"/>
                <a:gd name="connsiteY77" fmla="*/ 69225 h 207458"/>
                <a:gd name="connsiteX78" fmla="*/ 631561 w 1185143"/>
                <a:gd name="connsiteY78" fmla="*/ 34477 h 207458"/>
                <a:gd name="connsiteX79" fmla="*/ 579737 w 1185143"/>
                <a:gd name="connsiteY79" fmla="*/ 34477 h 207458"/>
                <a:gd name="connsiteX80" fmla="*/ 579737 w 1185143"/>
                <a:gd name="connsiteY80" fmla="*/ 69225 h 207458"/>
                <a:gd name="connsiteX81" fmla="*/ 501650 w 1185143"/>
                <a:gd name="connsiteY81" fmla="*/ 69225 h 207458"/>
                <a:gd name="connsiteX82" fmla="*/ 501650 w 1185143"/>
                <a:gd name="connsiteY82" fmla="*/ 172927 h 207458"/>
                <a:gd name="connsiteX83" fmla="*/ 467173 w 1185143"/>
                <a:gd name="connsiteY83" fmla="*/ 172927 h 207458"/>
                <a:gd name="connsiteX84" fmla="*/ 467173 w 1185143"/>
                <a:gd name="connsiteY84" fmla="*/ 69225 h 207458"/>
                <a:gd name="connsiteX85" fmla="*/ 380547 w 1185143"/>
                <a:gd name="connsiteY85" fmla="*/ 69225 h 207458"/>
                <a:gd name="connsiteX86" fmla="*/ 380547 w 1185143"/>
                <a:gd name="connsiteY86" fmla="*/ 34477 h 207458"/>
                <a:gd name="connsiteX87" fmla="*/ 467173 w 1185143"/>
                <a:gd name="connsiteY87" fmla="*/ 34477 h 207458"/>
                <a:gd name="connsiteX88" fmla="*/ 467173 w 1185143"/>
                <a:gd name="connsiteY88" fmla="*/ 0 h 207458"/>
                <a:gd name="connsiteX89" fmla="*/ 328669 w 1185143"/>
                <a:gd name="connsiteY89" fmla="*/ 0 h 207458"/>
                <a:gd name="connsiteX90" fmla="*/ 899760 w 1185143"/>
                <a:gd name="connsiteY90" fmla="*/ 34477 h 207458"/>
                <a:gd name="connsiteX91" fmla="*/ 951692 w 1185143"/>
                <a:gd name="connsiteY91" fmla="*/ 34477 h 207458"/>
                <a:gd name="connsiteX92" fmla="*/ 951692 w 1185143"/>
                <a:gd name="connsiteY92" fmla="*/ 0 h 207458"/>
                <a:gd name="connsiteX93" fmla="*/ 899760 w 1185143"/>
                <a:gd name="connsiteY93" fmla="*/ 0 h 207458"/>
                <a:gd name="connsiteX94" fmla="*/ 899760 w 1185143"/>
                <a:gd name="connsiteY94" fmla="*/ 34477 h 2074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</a:cxnLst>
              <a:rect l="l" t="t" r="r" b="b"/>
              <a:pathLst>
                <a:path w="1185143" h="207458">
                  <a:moveTo>
                    <a:pt x="259606" y="138234"/>
                  </a:moveTo>
                  <a:lnTo>
                    <a:pt x="311539" y="138234"/>
                  </a:lnTo>
                  <a:lnTo>
                    <a:pt x="311539" y="103486"/>
                  </a:lnTo>
                  <a:lnTo>
                    <a:pt x="259606" y="103486"/>
                  </a:lnTo>
                  <a:lnTo>
                    <a:pt x="259606" y="138234"/>
                  </a:lnTo>
                  <a:close/>
                  <a:moveTo>
                    <a:pt x="787196" y="103756"/>
                  </a:moveTo>
                  <a:lnTo>
                    <a:pt x="821943" y="103756"/>
                  </a:lnTo>
                  <a:lnTo>
                    <a:pt x="821943" y="172981"/>
                  </a:lnTo>
                  <a:lnTo>
                    <a:pt x="787196" y="172981"/>
                  </a:lnTo>
                  <a:lnTo>
                    <a:pt x="787196" y="103756"/>
                  </a:lnTo>
                  <a:close/>
                  <a:moveTo>
                    <a:pt x="752718" y="69225"/>
                  </a:moveTo>
                  <a:lnTo>
                    <a:pt x="735318" y="103756"/>
                  </a:lnTo>
                  <a:lnTo>
                    <a:pt x="735318" y="172981"/>
                  </a:lnTo>
                  <a:lnTo>
                    <a:pt x="752718" y="207458"/>
                  </a:lnTo>
                  <a:lnTo>
                    <a:pt x="873821" y="207458"/>
                  </a:lnTo>
                  <a:lnTo>
                    <a:pt x="873821" y="69225"/>
                  </a:lnTo>
                  <a:lnTo>
                    <a:pt x="752718" y="69225"/>
                  </a:lnTo>
                  <a:close/>
                  <a:moveTo>
                    <a:pt x="977577" y="69225"/>
                  </a:moveTo>
                  <a:lnTo>
                    <a:pt x="977577" y="207458"/>
                  </a:lnTo>
                  <a:lnTo>
                    <a:pt x="1029455" y="207458"/>
                  </a:lnTo>
                  <a:lnTo>
                    <a:pt x="1029455" y="103756"/>
                  </a:lnTo>
                  <a:lnTo>
                    <a:pt x="1055394" y="103756"/>
                  </a:lnTo>
                  <a:lnTo>
                    <a:pt x="1055394" y="207458"/>
                  </a:lnTo>
                  <a:lnTo>
                    <a:pt x="1107273" y="207458"/>
                  </a:lnTo>
                  <a:lnTo>
                    <a:pt x="1107273" y="103756"/>
                  </a:lnTo>
                  <a:lnTo>
                    <a:pt x="1133266" y="103756"/>
                  </a:lnTo>
                  <a:lnTo>
                    <a:pt x="1133266" y="207458"/>
                  </a:lnTo>
                  <a:lnTo>
                    <a:pt x="1185144" y="207458"/>
                  </a:lnTo>
                  <a:lnTo>
                    <a:pt x="1185144" y="103756"/>
                  </a:lnTo>
                  <a:lnTo>
                    <a:pt x="1168013" y="69225"/>
                  </a:lnTo>
                  <a:lnTo>
                    <a:pt x="977631" y="69225"/>
                  </a:lnTo>
                  <a:close/>
                  <a:moveTo>
                    <a:pt x="899760" y="207458"/>
                  </a:moveTo>
                  <a:lnTo>
                    <a:pt x="951692" y="207458"/>
                  </a:lnTo>
                  <a:lnTo>
                    <a:pt x="951692" y="69225"/>
                  </a:lnTo>
                  <a:lnTo>
                    <a:pt x="899760" y="69009"/>
                  </a:lnTo>
                  <a:lnTo>
                    <a:pt x="899760" y="207458"/>
                  </a:lnTo>
                  <a:close/>
                  <a:moveTo>
                    <a:pt x="112565" y="34477"/>
                  </a:moveTo>
                  <a:lnTo>
                    <a:pt x="112565" y="103756"/>
                  </a:lnTo>
                  <a:lnTo>
                    <a:pt x="86355" y="103756"/>
                  </a:lnTo>
                  <a:lnTo>
                    <a:pt x="112565" y="34477"/>
                  </a:lnTo>
                  <a:close/>
                  <a:moveTo>
                    <a:pt x="69225" y="0"/>
                  </a:moveTo>
                  <a:lnTo>
                    <a:pt x="0" y="207458"/>
                  </a:lnTo>
                  <a:lnTo>
                    <a:pt x="51878" y="207458"/>
                  </a:lnTo>
                  <a:lnTo>
                    <a:pt x="77817" y="138450"/>
                  </a:lnTo>
                  <a:lnTo>
                    <a:pt x="112565" y="138450"/>
                  </a:lnTo>
                  <a:lnTo>
                    <a:pt x="112565" y="207458"/>
                  </a:lnTo>
                  <a:lnTo>
                    <a:pt x="164443" y="207458"/>
                  </a:lnTo>
                  <a:lnTo>
                    <a:pt x="164443" y="0"/>
                  </a:lnTo>
                  <a:lnTo>
                    <a:pt x="69225" y="0"/>
                  </a:lnTo>
                  <a:close/>
                  <a:moveTo>
                    <a:pt x="190328" y="207458"/>
                  </a:moveTo>
                  <a:lnTo>
                    <a:pt x="242206" y="207458"/>
                  </a:lnTo>
                  <a:lnTo>
                    <a:pt x="242206" y="0"/>
                  </a:lnTo>
                  <a:lnTo>
                    <a:pt x="190328" y="0"/>
                  </a:lnTo>
                  <a:lnTo>
                    <a:pt x="190328" y="207458"/>
                  </a:lnTo>
                  <a:close/>
                  <a:moveTo>
                    <a:pt x="328615" y="0"/>
                  </a:moveTo>
                  <a:lnTo>
                    <a:pt x="328615" y="207458"/>
                  </a:lnTo>
                  <a:lnTo>
                    <a:pt x="380493" y="207458"/>
                  </a:lnTo>
                  <a:lnTo>
                    <a:pt x="380493" y="103756"/>
                  </a:lnTo>
                  <a:lnTo>
                    <a:pt x="415295" y="103756"/>
                  </a:lnTo>
                  <a:lnTo>
                    <a:pt x="415295" y="172981"/>
                  </a:lnTo>
                  <a:lnTo>
                    <a:pt x="432641" y="207458"/>
                  </a:lnTo>
                  <a:lnTo>
                    <a:pt x="553798" y="207458"/>
                  </a:lnTo>
                  <a:lnTo>
                    <a:pt x="553798" y="103756"/>
                  </a:lnTo>
                  <a:lnTo>
                    <a:pt x="579737" y="103756"/>
                  </a:lnTo>
                  <a:lnTo>
                    <a:pt x="579737" y="207458"/>
                  </a:lnTo>
                  <a:lnTo>
                    <a:pt x="631561" y="207458"/>
                  </a:lnTo>
                  <a:lnTo>
                    <a:pt x="631561" y="103756"/>
                  </a:lnTo>
                  <a:lnTo>
                    <a:pt x="657555" y="103756"/>
                  </a:lnTo>
                  <a:lnTo>
                    <a:pt x="657555" y="207458"/>
                  </a:lnTo>
                  <a:lnTo>
                    <a:pt x="709433" y="207458"/>
                  </a:lnTo>
                  <a:lnTo>
                    <a:pt x="709433" y="103756"/>
                  </a:lnTo>
                  <a:lnTo>
                    <a:pt x="735372" y="103756"/>
                  </a:lnTo>
                  <a:lnTo>
                    <a:pt x="735372" y="69225"/>
                  </a:lnTo>
                  <a:lnTo>
                    <a:pt x="709433" y="69225"/>
                  </a:lnTo>
                  <a:lnTo>
                    <a:pt x="709433" y="34477"/>
                  </a:lnTo>
                  <a:lnTo>
                    <a:pt x="657555" y="34477"/>
                  </a:lnTo>
                  <a:lnTo>
                    <a:pt x="657555" y="69225"/>
                  </a:lnTo>
                  <a:lnTo>
                    <a:pt x="631561" y="69225"/>
                  </a:lnTo>
                  <a:lnTo>
                    <a:pt x="631561" y="34477"/>
                  </a:lnTo>
                  <a:lnTo>
                    <a:pt x="579737" y="34477"/>
                  </a:lnTo>
                  <a:lnTo>
                    <a:pt x="579737" y="69225"/>
                  </a:lnTo>
                  <a:lnTo>
                    <a:pt x="501650" y="69225"/>
                  </a:lnTo>
                  <a:lnTo>
                    <a:pt x="501650" y="172927"/>
                  </a:lnTo>
                  <a:lnTo>
                    <a:pt x="467173" y="172927"/>
                  </a:lnTo>
                  <a:lnTo>
                    <a:pt x="467173" y="69225"/>
                  </a:lnTo>
                  <a:lnTo>
                    <a:pt x="380547" y="69225"/>
                  </a:lnTo>
                  <a:lnTo>
                    <a:pt x="380547" y="34477"/>
                  </a:lnTo>
                  <a:lnTo>
                    <a:pt x="467173" y="34477"/>
                  </a:lnTo>
                  <a:lnTo>
                    <a:pt x="467173" y="0"/>
                  </a:lnTo>
                  <a:lnTo>
                    <a:pt x="328669" y="0"/>
                  </a:lnTo>
                  <a:close/>
                  <a:moveTo>
                    <a:pt x="899760" y="34477"/>
                  </a:moveTo>
                  <a:lnTo>
                    <a:pt x="951692" y="34477"/>
                  </a:lnTo>
                  <a:lnTo>
                    <a:pt x="951692" y="0"/>
                  </a:lnTo>
                  <a:lnTo>
                    <a:pt x="899760" y="0"/>
                  </a:lnTo>
                  <a:lnTo>
                    <a:pt x="899760" y="34477"/>
                  </a:lnTo>
                  <a:close/>
                </a:path>
              </a:pathLst>
            </a:custGeom>
            <a:grpFill/>
            <a:ln w="538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" name="Freeform: Shape 8">
              <a:extLst>
                <a:ext uri="{FF2B5EF4-FFF2-40B4-BE49-F238E27FC236}">
                  <a16:creationId xmlns:a16="http://schemas.microsoft.com/office/drawing/2014/main" id="{4B16180B-1850-72D4-B81C-33C05B2769E8}"/>
                </a:ext>
              </a:extLst>
            </p:cNvPr>
            <p:cNvSpPr/>
            <p:nvPr/>
          </p:nvSpPr>
          <p:spPr>
            <a:xfrm>
              <a:off x="9951588" y="538699"/>
              <a:ext cx="415348" cy="363146"/>
            </a:xfrm>
            <a:custGeom>
              <a:avLst/>
              <a:gdLst>
                <a:gd name="connsiteX0" fmla="*/ 156175 w 415348"/>
                <a:gd name="connsiteY0" fmla="*/ 155526 h 363146"/>
                <a:gd name="connsiteX1" fmla="*/ 207782 w 415348"/>
                <a:gd name="connsiteY1" fmla="*/ 103864 h 363146"/>
                <a:gd name="connsiteX2" fmla="*/ 259390 w 415348"/>
                <a:gd name="connsiteY2" fmla="*/ 155526 h 363146"/>
                <a:gd name="connsiteX3" fmla="*/ 207782 w 415348"/>
                <a:gd name="connsiteY3" fmla="*/ 207296 h 363146"/>
                <a:gd name="connsiteX4" fmla="*/ 156175 w 415348"/>
                <a:gd name="connsiteY4" fmla="*/ 155526 h 363146"/>
                <a:gd name="connsiteX5" fmla="*/ 207782 w 415348"/>
                <a:gd name="connsiteY5" fmla="*/ 0 h 363146"/>
                <a:gd name="connsiteX6" fmla="*/ 0 w 415348"/>
                <a:gd name="connsiteY6" fmla="*/ 207350 h 363146"/>
                <a:gd name="connsiteX7" fmla="*/ 51986 w 415348"/>
                <a:gd name="connsiteY7" fmla="*/ 259228 h 363146"/>
                <a:gd name="connsiteX8" fmla="*/ 104134 w 415348"/>
                <a:gd name="connsiteY8" fmla="*/ 207512 h 363146"/>
                <a:gd name="connsiteX9" fmla="*/ 155904 w 415348"/>
                <a:gd name="connsiteY9" fmla="*/ 259499 h 363146"/>
                <a:gd name="connsiteX10" fmla="*/ 103810 w 415348"/>
                <a:gd name="connsiteY10" fmla="*/ 311593 h 363146"/>
                <a:gd name="connsiteX11" fmla="*/ 155904 w 415348"/>
                <a:gd name="connsiteY11" fmla="*/ 363147 h 363146"/>
                <a:gd name="connsiteX12" fmla="*/ 206810 w 415348"/>
                <a:gd name="connsiteY12" fmla="*/ 311431 h 363146"/>
                <a:gd name="connsiteX13" fmla="*/ 259823 w 415348"/>
                <a:gd name="connsiteY13" fmla="*/ 363147 h 363146"/>
                <a:gd name="connsiteX14" fmla="*/ 311485 w 415348"/>
                <a:gd name="connsiteY14" fmla="*/ 311431 h 363146"/>
                <a:gd name="connsiteX15" fmla="*/ 259823 w 415348"/>
                <a:gd name="connsiteY15" fmla="*/ 259769 h 363146"/>
                <a:gd name="connsiteX16" fmla="*/ 312025 w 415348"/>
                <a:gd name="connsiteY16" fmla="*/ 207512 h 363146"/>
                <a:gd name="connsiteX17" fmla="*/ 363633 w 415348"/>
                <a:gd name="connsiteY17" fmla="*/ 259228 h 363146"/>
                <a:gd name="connsiteX18" fmla="*/ 415349 w 415348"/>
                <a:gd name="connsiteY18" fmla="*/ 207512 h 363146"/>
                <a:gd name="connsiteX19" fmla="*/ 207782 w 415348"/>
                <a:gd name="connsiteY19" fmla="*/ 0 h 3631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415348" h="363146">
                  <a:moveTo>
                    <a:pt x="156175" y="155526"/>
                  </a:moveTo>
                  <a:lnTo>
                    <a:pt x="207782" y="103864"/>
                  </a:lnTo>
                  <a:lnTo>
                    <a:pt x="259390" y="155526"/>
                  </a:lnTo>
                  <a:lnTo>
                    <a:pt x="207782" y="207296"/>
                  </a:lnTo>
                  <a:lnTo>
                    <a:pt x="156175" y="155526"/>
                  </a:lnTo>
                  <a:close/>
                  <a:moveTo>
                    <a:pt x="207782" y="0"/>
                  </a:moveTo>
                  <a:lnTo>
                    <a:pt x="0" y="207350"/>
                  </a:lnTo>
                  <a:lnTo>
                    <a:pt x="51986" y="259228"/>
                  </a:lnTo>
                  <a:lnTo>
                    <a:pt x="104134" y="207512"/>
                  </a:lnTo>
                  <a:lnTo>
                    <a:pt x="155904" y="259499"/>
                  </a:lnTo>
                  <a:lnTo>
                    <a:pt x="103810" y="311593"/>
                  </a:lnTo>
                  <a:lnTo>
                    <a:pt x="155904" y="363147"/>
                  </a:lnTo>
                  <a:lnTo>
                    <a:pt x="206810" y="311431"/>
                  </a:lnTo>
                  <a:lnTo>
                    <a:pt x="259823" y="363147"/>
                  </a:lnTo>
                  <a:lnTo>
                    <a:pt x="311485" y="311431"/>
                  </a:lnTo>
                  <a:lnTo>
                    <a:pt x="259823" y="259769"/>
                  </a:lnTo>
                  <a:lnTo>
                    <a:pt x="312025" y="207512"/>
                  </a:lnTo>
                  <a:lnTo>
                    <a:pt x="363633" y="259228"/>
                  </a:lnTo>
                  <a:lnTo>
                    <a:pt x="415349" y="207512"/>
                  </a:lnTo>
                  <a:lnTo>
                    <a:pt x="207782" y="0"/>
                  </a:lnTo>
                  <a:close/>
                </a:path>
              </a:pathLst>
            </a:custGeom>
            <a:solidFill>
              <a:schemeClr val="accent2"/>
            </a:solidFill>
            <a:ln w="538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07848EE5-4927-B646-F0A3-D86C20D6C0A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white">
          <a:xfrm>
            <a:off x="1481000" y="4596549"/>
            <a:ext cx="8289001" cy="276999"/>
          </a:xfrm>
        </p:spPr>
        <p:txBody>
          <a:bodyPr wrap="square" anchor="b">
            <a:spAutoFit/>
          </a:bodyPr>
          <a:lstStyle>
            <a:lvl1pPr>
              <a:defRPr sz="1800">
                <a:solidFill>
                  <a:schemeClr val="accent2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– Speaker Name, Company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205DEA34-11DA-DDDC-A148-9FF11F3A5A9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white">
          <a:xfrm>
            <a:off x="1481000" y="539028"/>
            <a:ext cx="8286884" cy="3558797"/>
          </a:xfrm>
        </p:spPr>
        <p:txBody>
          <a:bodyPr>
            <a:noAutofit/>
          </a:bodyPr>
          <a:lstStyle>
            <a:lvl1pPr>
              <a:defRPr sz="54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Please insert a Quote </a:t>
            </a:r>
            <a:br>
              <a:rPr lang="en-US" dirty="0"/>
            </a:br>
            <a:r>
              <a:rPr lang="en-US" dirty="0"/>
              <a:t>or a Statement!</a:t>
            </a:r>
          </a:p>
        </p:txBody>
      </p:sp>
    </p:spTree>
    <p:extLst>
      <p:ext uri="{BB962C8B-B14F-4D97-AF65-F5344CB8AC3E}">
        <p14:creationId xmlns:p14="http://schemas.microsoft.com/office/powerpoint/2010/main" val="40361078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1" userDrawn="1">
          <p15:clr>
            <a:srgbClr val="FBAE40"/>
          </p15:clr>
        </p15:guide>
        <p15:guide id="2" orient="horz" pos="3070" userDrawn="1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 Slide 2_l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reihandform: Form 2">
            <a:extLst>
              <a:ext uri="{FF2B5EF4-FFF2-40B4-BE49-F238E27FC236}">
                <a16:creationId xmlns:a16="http://schemas.microsoft.com/office/drawing/2014/main" id="{D2A87101-705A-4EF9-CF45-5EFDF6609B7C}"/>
              </a:ext>
            </a:extLst>
          </p:cNvPr>
          <p:cNvSpPr>
            <a:spLocks/>
          </p:cNvSpPr>
          <p:nvPr userDrawn="1"/>
        </p:nvSpPr>
        <p:spPr>
          <a:xfrm flipH="1">
            <a:off x="538161" y="1"/>
            <a:ext cx="11653838" cy="6039772"/>
          </a:xfrm>
          <a:custGeom>
            <a:avLst/>
            <a:gdLst>
              <a:gd name="connsiteX0" fmla="*/ 11682411 w 11682412"/>
              <a:gd name="connsiteY0" fmla="*/ 5459452 h 6089650"/>
              <a:gd name="connsiteX1" fmla="*/ 11052213 w 11682412"/>
              <a:gd name="connsiteY1" fmla="*/ 5459452 h 6089650"/>
              <a:gd name="connsiteX2" fmla="*/ 11682411 w 11682412"/>
              <a:gd name="connsiteY2" fmla="*/ 6089650 h 6089650"/>
              <a:gd name="connsiteX3" fmla="*/ 11682412 w 11682412"/>
              <a:gd name="connsiteY3" fmla="*/ 0 h 6089650"/>
              <a:gd name="connsiteX4" fmla="*/ 0 w 11682412"/>
              <a:gd name="connsiteY4" fmla="*/ 0 h 6089650"/>
              <a:gd name="connsiteX5" fmla="*/ 0 w 11682412"/>
              <a:gd name="connsiteY5" fmla="*/ 5459451 h 6089650"/>
              <a:gd name="connsiteX6" fmla="*/ 11682412 w 11682412"/>
              <a:gd name="connsiteY6" fmla="*/ 5459451 h 60896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1682412" h="6089650">
                <a:moveTo>
                  <a:pt x="11682411" y="5459452"/>
                </a:moveTo>
                <a:lnTo>
                  <a:pt x="11052213" y="5459452"/>
                </a:lnTo>
                <a:lnTo>
                  <a:pt x="11682411" y="6089650"/>
                </a:lnTo>
                <a:close/>
                <a:moveTo>
                  <a:pt x="11682412" y="0"/>
                </a:moveTo>
                <a:lnTo>
                  <a:pt x="0" y="0"/>
                </a:lnTo>
                <a:lnTo>
                  <a:pt x="0" y="5459451"/>
                </a:lnTo>
                <a:lnTo>
                  <a:pt x="11682412" y="5459451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BABAA35-1304-A3EC-A9C3-854E14C4664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Al-Futtaim Template 2025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2D61B8B-D6CA-BCE6-71B4-5C8A439C247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83109594-1B45-46DB-8A0B-416F125317D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7B82DAD-1AFC-2023-BB91-5E7F5BD2C6D0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10C36D34-3E72-428F-AABC-1D5E8A63697A}" type="datetime1">
              <a:rPr lang="en-US" smtClean="0"/>
              <a:t>21/08/2025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07848EE5-4927-B646-F0A3-D86C20D6C0A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81000" y="4596549"/>
            <a:ext cx="8289001" cy="276999"/>
          </a:xfrm>
        </p:spPr>
        <p:txBody>
          <a:bodyPr wrap="square" anchor="b">
            <a:spAutoFit/>
          </a:bodyPr>
          <a:lstStyle>
            <a:lvl1pPr>
              <a:defRPr sz="1800">
                <a:solidFill>
                  <a:schemeClr val="accent2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– Speaker Name, Company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205DEA34-11DA-DDDC-A148-9FF11F3A5A9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481000" y="539028"/>
            <a:ext cx="8286884" cy="3558797"/>
          </a:xfrm>
        </p:spPr>
        <p:txBody>
          <a:bodyPr>
            <a:noAutofit/>
          </a:bodyPr>
          <a:lstStyle>
            <a:lvl1pPr>
              <a:defRPr sz="5400">
                <a:solidFill>
                  <a:schemeClr val="tx2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Please insert a Quote </a:t>
            </a:r>
            <a:br>
              <a:rPr lang="en-US" dirty="0"/>
            </a:br>
            <a:r>
              <a:rPr lang="en-US" dirty="0"/>
              <a:t>or a Statement!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75986D47-DDBD-CF8D-5D24-F34387F3EDC8}"/>
              </a:ext>
            </a:extLst>
          </p:cNvPr>
          <p:cNvGrpSpPr/>
          <p:nvPr userDrawn="1"/>
        </p:nvGrpSpPr>
        <p:grpSpPr>
          <a:xfrm>
            <a:off x="9951588" y="538699"/>
            <a:ext cx="1704301" cy="363146"/>
            <a:chOff x="9951588" y="538699"/>
            <a:chExt cx="1704301" cy="363146"/>
          </a:xfrm>
        </p:grpSpPr>
        <p:sp>
          <p:nvSpPr>
            <p:cNvPr id="10" name="Freeform: Shape 9">
              <a:extLst>
                <a:ext uri="{FF2B5EF4-FFF2-40B4-BE49-F238E27FC236}">
                  <a16:creationId xmlns:a16="http://schemas.microsoft.com/office/drawing/2014/main" id="{6A1F987F-F688-441E-3BA8-3F1CD4881513}"/>
                </a:ext>
              </a:extLst>
            </p:cNvPr>
            <p:cNvSpPr/>
            <p:nvPr/>
          </p:nvSpPr>
          <p:spPr>
            <a:xfrm>
              <a:off x="10470746" y="642617"/>
              <a:ext cx="1185143" cy="207458"/>
            </a:xfrm>
            <a:custGeom>
              <a:avLst/>
              <a:gdLst>
                <a:gd name="connsiteX0" fmla="*/ 259606 w 1185143"/>
                <a:gd name="connsiteY0" fmla="*/ 138234 h 207458"/>
                <a:gd name="connsiteX1" fmla="*/ 311539 w 1185143"/>
                <a:gd name="connsiteY1" fmla="*/ 138234 h 207458"/>
                <a:gd name="connsiteX2" fmla="*/ 311539 w 1185143"/>
                <a:gd name="connsiteY2" fmla="*/ 103486 h 207458"/>
                <a:gd name="connsiteX3" fmla="*/ 259606 w 1185143"/>
                <a:gd name="connsiteY3" fmla="*/ 103486 h 207458"/>
                <a:gd name="connsiteX4" fmla="*/ 259606 w 1185143"/>
                <a:gd name="connsiteY4" fmla="*/ 138234 h 207458"/>
                <a:gd name="connsiteX5" fmla="*/ 787196 w 1185143"/>
                <a:gd name="connsiteY5" fmla="*/ 103756 h 207458"/>
                <a:gd name="connsiteX6" fmla="*/ 821943 w 1185143"/>
                <a:gd name="connsiteY6" fmla="*/ 103756 h 207458"/>
                <a:gd name="connsiteX7" fmla="*/ 821943 w 1185143"/>
                <a:gd name="connsiteY7" fmla="*/ 172981 h 207458"/>
                <a:gd name="connsiteX8" fmla="*/ 787196 w 1185143"/>
                <a:gd name="connsiteY8" fmla="*/ 172981 h 207458"/>
                <a:gd name="connsiteX9" fmla="*/ 787196 w 1185143"/>
                <a:gd name="connsiteY9" fmla="*/ 103756 h 207458"/>
                <a:gd name="connsiteX10" fmla="*/ 752718 w 1185143"/>
                <a:gd name="connsiteY10" fmla="*/ 69225 h 207458"/>
                <a:gd name="connsiteX11" fmla="*/ 735318 w 1185143"/>
                <a:gd name="connsiteY11" fmla="*/ 103756 h 207458"/>
                <a:gd name="connsiteX12" fmla="*/ 735318 w 1185143"/>
                <a:gd name="connsiteY12" fmla="*/ 172981 h 207458"/>
                <a:gd name="connsiteX13" fmla="*/ 752718 w 1185143"/>
                <a:gd name="connsiteY13" fmla="*/ 207458 h 207458"/>
                <a:gd name="connsiteX14" fmla="*/ 873821 w 1185143"/>
                <a:gd name="connsiteY14" fmla="*/ 207458 h 207458"/>
                <a:gd name="connsiteX15" fmla="*/ 873821 w 1185143"/>
                <a:gd name="connsiteY15" fmla="*/ 69225 h 207458"/>
                <a:gd name="connsiteX16" fmla="*/ 752718 w 1185143"/>
                <a:gd name="connsiteY16" fmla="*/ 69225 h 207458"/>
                <a:gd name="connsiteX17" fmla="*/ 977577 w 1185143"/>
                <a:gd name="connsiteY17" fmla="*/ 69225 h 207458"/>
                <a:gd name="connsiteX18" fmla="*/ 977577 w 1185143"/>
                <a:gd name="connsiteY18" fmla="*/ 207458 h 207458"/>
                <a:gd name="connsiteX19" fmla="*/ 1029455 w 1185143"/>
                <a:gd name="connsiteY19" fmla="*/ 207458 h 207458"/>
                <a:gd name="connsiteX20" fmla="*/ 1029455 w 1185143"/>
                <a:gd name="connsiteY20" fmla="*/ 103756 h 207458"/>
                <a:gd name="connsiteX21" fmla="*/ 1055394 w 1185143"/>
                <a:gd name="connsiteY21" fmla="*/ 103756 h 207458"/>
                <a:gd name="connsiteX22" fmla="*/ 1055394 w 1185143"/>
                <a:gd name="connsiteY22" fmla="*/ 207458 h 207458"/>
                <a:gd name="connsiteX23" fmla="*/ 1107273 w 1185143"/>
                <a:gd name="connsiteY23" fmla="*/ 207458 h 207458"/>
                <a:gd name="connsiteX24" fmla="*/ 1107273 w 1185143"/>
                <a:gd name="connsiteY24" fmla="*/ 103756 h 207458"/>
                <a:gd name="connsiteX25" fmla="*/ 1133266 w 1185143"/>
                <a:gd name="connsiteY25" fmla="*/ 103756 h 207458"/>
                <a:gd name="connsiteX26" fmla="*/ 1133266 w 1185143"/>
                <a:gd name="connsiteY26" fmla="*/ 207458 h 207458"/>
                <a:gd name="connsiteX27" fmla="*/ 1185144 w 1185143"/>
                <a:gd name="connsiteY27" fmla="*/ 207458 h 207458"/>
                <a:gd name="connsiteX28" fmla="*/ 1185144 w 1185143"/>
                <a:gd name="connsiteY28" fmla="*/ 103756 h 207458"/>
                <a:gd name="connsiteX29" fmla="*/ 1168013 w 1185143"/>
                <a:gd name="connsiteY29" fmla="*/ 69225 h 207458"/>
                <a:gd name="connsiteX30" fmla="*/ 977631 w 1185143"/>
                <a:gd name="connsiteY30" fmla="*/ 69225 h 207458"/>
                <a:gd name="connsiteX31" fmla="*/ 899760 w 1185143"/>
                <a:gd name="connsiteY31" fmla="*/ 207458 h 207458"/>
                <a:gd name="connsiteX32" fmla="*/ 951692 w 1185143"/>
                <a:gd name="connsiteY32" fmla="*/ 207458 h 207458"/>
                <a:gd name="connsiteX33" fmla="*/ 951692 w 1185143"/>
                <a:gd name="connsiteY33" fmla="*/ 69225 h 207458"/>
                <a:gd name="connsiteX34" fmla="*/ 899760 w 1185143"/>
                <a:gd name="connsiteY34" fmla="*/ 69009 h 207458"/>
                <a:gd name="connsiteX35" fmla="*/ 899760 w 1185143"/>
                <a:gd name="connsiteY35" fmla="*/ 207458 h 207458"/>
                <a:gd name="connsiteX36" fmla="*/ 112565 w 1185143"/>
                <a:gd name="connsiteY36" fmla="*/ 34477 h 207458"/>
                <a:gd name="connsiteX37" fmla="*/ 112565 w 1185143"/>
                <a:gd name="connsiteY37" fmla="*/ 103756 h 207458"/>
                <a:gd name="connsiteX38" fmla="*/ 86355 w 1185143"/>
                <a:gd name="connsiteY38" fmla="*/ 103756 h 207458"/>
                <a:gd name="connsiteX39" fmla="*/ 112565 w 1185143"/>
                <a:gd name="connsiteY39" fmla="*/ 34477 h 207458"/>
                <a:gd name="connsiteX40" fmla="*/ 69225 w 1185143"/>
                <a:gd name="connsiteY40" fmla="*/ 0 h 207458"/>
                <a:gd name="connsiteX41" fmla="*/ 0 w 1185143"/>
                <a:gd name="connsiteY41" fmla="*/ 207458 h 207458"/>
                <a:gd name="connsiteX42" fmla="*/ 51878 w 1185143"/>
                <a:gd name="connsiteY42" fmla="*/ 207458 h 207458"/>
                <a:gd name="connsiteX43" fmla="*/ 77817 w 1185143"/>
                <a:gd name="connsiteY43" fmla="*/ 138450 h 207458"/>
                <a:gd name="connsiteX44" fmla="*/ 112565 w 1185143"/>
                <a:gd name="connsiteY44" fmla="*/ 138450 h 207458"/>
                <a:gd name="connsiteX45" fmla="*/ 112565 w 1185143"/>
                <a:gd name="connsiteY45" fmla="*/ 207458 h 207458"/>
                <a:gd name="connsiteX46" fmla="*/ 164443 w 1185143"/>
                <a:gd name="connsiteY46" fmla="*/ 207458 h 207458"/>
                <a:gd name="connsiteX47" fmla="*/ 164443 w 1185143"/>
                <a:gd name="connsiteY47" fmla="*/ 0 h 207458"/>
                <a:gd name="connsiteX48" fmla="*/ 69225 w 1185143"/>
                <a:gd name="connsiteY48" fmla="*/ 0 h 207458"/>
                <a:gd name="connsiteX49" fmla="*/ 190328 w 1185143"/>
                <a:gd name="connsiteY49" fmla="*/ 207458 h 207458"/>
                <a:gd name="connsiteX50" fmla="*/ 242206 w 1185143"/>
                <a:gd name="connsiteY50" fmla="*/ 207458 h 207458"/>
                <a:gd name="connsiteX51" fmla="*/ 242206 w 1185143"/>
                <a:gd name="connsiteY51" fmla="*/ 0 h 207458"/>
                <a:gd name="connsiteX52" fmla="*/ 190328 w 1185143"/>
                <a:gd name="connsiteY52" fmla="*/ 0 h 207458"/>
                <a:gd name="connsiteX53" fmla="*/ 190328 w 1185143"/>
                <a:gd name="connsiteY53" fmla="*/ 207458 h 207458"/>
                <a:gd name="connsiteX54" fmla="*/ 328615 w 1185143"/>
                <a:gd name="connsiteY54" fmla="*/ 0 h 207458"/>
                <a:gd name="connsiteX55" fmla="*/ 328615 w 1185143"/>
                <a:gd name="connsiteY55" fmla="*/ 207458 h 207458"/>
                <a:gd name="connsiteX56" fmla="*/ 380493 w 1185143"/>
                <a:gd name="connsiteY56" fmla="*/ 207458 h 207458"/>
                <a:gd name="connsiteX57" fmla="*/ 380493 w 1185143"/>
                <a:gd name="connsiteY57" fmla="*/ 103756 h 207458"/>
                <a:gd name="connsiteX58" fmla="*/ 415295 w 1185143"/>
                <a:gd name="connsiteY58" fmla="*/ 103756 h 207458"/>
                <a:gd name="connsiteX59" fmla="*/ 415295 w 1185143"/>
                <a:gd name="connsiteY59" fmla="*/ 172981 h 207458"/>
                <a:gd name="connsiteX60" fmla="*/ 432641 w 1185143"/>
                <a:gd name="connsiteY60" fmla="*/ 207458 h 207458"/>
                <a:gd name="connsiteX61" fmla="*/ 553798 w 1185143"/>
                <a:gd name="connsiteY61" fmla="*/ 207458 h 207458"/>
                <a:gd name="connsiteX62" fmla="*/ 553798 w 1185143"/>
                <a:gd name="connsiteY62" fmla="*/ 103756 h 207458"/>
                <a:gd name="connsiteX63" fmla="*/ 579737 w 1185143"/>
                <a:gd name="connsiteY63" fmla="*/ 103756 h 207458"/>
                <a:gd name="connsiteX64" fmla="*/ 579737 w 1185143"/>
                <a:gd name="connsiteY64" fmla="*/ 207458 h 207458"/>
                <a:gd name="connsiteX65" fmla="*/ 631561 w 1185143"/>
                <a:gd name="connsiteY65" fmla="*/ 207458 h 207458"/>
                <a:gd name="connsiteX66" fmla="*/ 631561 w 1185143"/>
                <a:gd name="connsiteY66" fmla="*/ 103756 h 207458"/>
                <a:gd name="connsiteX67" fmla="*/ 657555 w 1185143"/>
                <a:gd name="connsiteY67" fmla="*/ 103756 h 207458"/>
                <a:gd name="connsiteX68" fmla="*/ 657555 w 1185143"/>
                <a:gd name="connsiteY68" fmla="*/ 207458 h 207458"/>
                <a:gd name="connsiteX69" fmla="*/ 709433 w 1185143"/>
                <a:gd name="connsiteY69" fmla="*/ 207458 h 207458"/>
                <a:gd name="connsiteX70" fmla="*/ 709433 w 1185143"/>
                <a:gd name="connsiteY70" fmla="*/ 103756 h 207458"/>
                <a:gd name="connsiteX71" fmla="*/ 735372 w 1185143"/>
                <a:gd name="connsiteY71" fmla="*/ 103756 h 207458"/>
                <a:gd name="connsiteX72" fmla="*/ 735372 w 1185143"/>
                <a:gd name="connsiteY72" fmla="*/ 69225 h 207458"/>
                <a:gd name="connsiteX73" fmla="*/ 709433 w 1185143"/>
                <a:gd name="connsiteY73" fmla="*/ 69225 h 207458"/>
                <a:gd name="connsiteX74" fmla="*/ 709433 w 1185143"/>
                <a:gd name="connsiteY74" fmla="*/ 34477 h 207458"/>
                <a:gd name="connsiteX75" fmla="*/ 657555 w 1185143"/>
                <a:gd name="connsiteY75" fmla="*/ 34477 h 207458"/>
                <a:gd name="connsiteX76" fmla="*/ 657555 w 1185143"/>
                <a:gd name="connsiteY76" fmla="*/ 69225 h 207458"/>
                <a:gd name="connsiteX77" fmla="*/ 631561 w 1185143"/>
                <a:gd name="connsiteY77" fmla="*/ 69225 h 207458"/>
                <a:gd name="connsiteX78" fmla="*/ 631561 w 1185143"/>
                <a:gd name="connsiteY78" fmla="*/ 34477 h 207458"/>
                <a:gd name="connsiteX79" fmla="*/ 579737 w 1185143"/>
                <a:gd name="connsiteY79" fmla="*/ 34477 h 207458"/>
                <a:gd name="connsiteX80" fmla="*/ 579737 w 1185143"/>
                <a:gd name="connsiteY80" fmla="*/ 69225 h 207458"/>
                <a:gd name="connsiteX81" fmla="*/ 501650 w 1185143"/>
                <a:gd name="connsiteY81" fmla="*/ 69225 h 207458"/>
                <a:gd name="connsiteX82" fmla="*/ 501650 w 1185143"/>
                <a:gd name="connsiteY82" fmla="*/ 172927 h 207458"/>
                <a:gd name="connsiteX83" fmla="*/ 467173 w 1185143"/>
                <a:gd name="connsiteY83" fmla="*/ 172927 h 207458"/>
                <a:gd name="connsiteX84" fmla="*/ 467173 w 1185143"/>
                <a:gd name="connsiteY84" fmla="*/ 69225 h 207458"/>
                <a:gd name="connsiteX85" fmla="*/ 380547 w 1185143"/>
                <a:gd name="connsiteY85" fmla="*/ 69225 h 207458"/>
                <a:gd name="connsiteX86" fmla="*/ 380547 w 1185143"/>
                <a:gd name="connsiteY86" fmla="*/ 34477 h 207458"/>
                <a:gd name="connsiteX87" fmla="*/ 467173 w 1185143"/>
                <a:gd name="connsiteY87" fmla="*/ 34477 h 207458"/>
                <a:gd name="connsiteX88" fmla="*/ 467173 w 1185143"/>
                <a:gd name="connsiteY88" fmla="*/ 0 h 207458"/>
                <a:gd name="connsiteX89" fmla="*/ 328669 w 1185143"/>
                <a:gd name="connsiteY89" fmla="*/ 0 h 207458"/>
                <a:gd name="connsiteX90" fmla="*/ 899760 w 1185143"/>
                <a:gd name="connsiteY90" fmla="*/ 34477 h 207458"/>
                <a:gd name="connsiteX91" fmla="*/ 951692 w 1185143"/>
                <a:gd name="connsiteY91" fmla="*/ 34477 h 207458"/>
                <a:gd name="connsiteX92" fmla="*/ 951692 w 1185143"/>
                <a:gd name="connsiteY92" fmla="*/ 0 h 207458"/>
                <a:gd name="connsiteX93" fmla="*/ 899760 w 1185143"/>
                <a:gd name="connsiteY93" fmla="*/ 0 h 207458"/>
                <a:gd name="connsiteX94" fmla="*/ 899760 w 1185143"/>
                <a:gd name="connsiteY94" fmla="*/ 34477 h 2074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</a:cxnLst>
              <a:rect l="l" t="t" r="r" b="b"/>
              <a:pathLst>
                <a:path w="1185143" h="207458">
                  <a:moveTo>
                    <a:pt x="259606" y="138234"/>
                  </a:moveTo>
                  <a:lnTo>
                    <a:pt x="311539" y="138234"/>
                  </a:lnTo>
                  <a:lnTo>
                    <a:pt x="311539" y="103486"/>
                  </a:lnTo>
                  <a:lnTo>
                    <a:pt x="259606" y="103486"/>
                  </a:lnTo>
                  <a:lnTo>
                    <a:pt x="259606" y="138234"/>
                  </a:lnTo>
                  <a:close/>
                  <a:moveTo>
                    <a:pt x="787196" y="103756"/>
                  </a:moveTo>
                  <a:lnTo>
                    <a:pt x="821943" y="103756"/>
                  </a:lnTo>
                  <a:lnTo>
                    <a:pt x="821943" y="172981"/>
                  </a:lnTo>
                  <a:lnTo>
                    <a:pt x="787196" y="172981"/>
                  </a:lnTo>
                  <a:lnTo>
                    <a:pt x="787196" y="103756"/>
                  </a:lnTo>
                  <a:close/>
                  <a:moveTo>
                    <a:pt x="752718" y="69225"/>
                  </a:moveTo>
                  <a:lnTo>
                    <a:pt x="735318" y="103756"/>
                  </a:lnTo>
                  <a:lnTo>
                    <a:pt x="735318" y="172981"/>
                  </a:lnTo>
                  <a:lnTo>
                    <a:pt x="752718" y="207458"/>
                  </a:lnTo>
                  <a:lnTo>
                    <a:pt x="873821" y="207458"/>
                  </a:lnTo>
                  <a:lnTo>
                    <a:pt x="873821" y="69225"/>
                  </a:lnTo>
                  <a:lnTo>
                    <a:pt x="752718" y="69225"/>
                  </a:lnTo>
                  <a:close/>
                  <a:moveTo>
                    <a:pt x="977577" y="69225"/>
                  </a:moveTo>
                  <a:lnTo>
                    <a:pt x="977577" y="207458"/>
                  </a:lnTo>
                  <a:lnTo>
                    <a:pt x="1029455" y="207458"/>
                  </a:lnTo>
                  <a:lnTo>
                    <a:pt x="1029455" y="103756"/>
                  </a:lnTo>
                  <a:lnTo>
                    <a:pt x="1055394" y="103756"/>
                  </a:lnTo>
                  <a:lnTo>
                    <a:pt x="1055394" y="207458"/>
                  </a:lnTo>
                  <a:lnTo>
                    <a:pt x="1107273" y="207458"/>
                  </a:lnTo>
                  <a:lnTo>
                    <a:pt x="1107273" y="103756"/>
                  </a:lnTo>
                  <a:lnTo>
                    <a:pt x="1133266" y="103756"/>
                  </a:lnTo>
                  <a:lnTo>
                    <a:pt x="1133266" y="207458"/>
                  </a:lnTo>
                  <a:lnTo>
                    <a:pt x="1185144" y="207458"/>
                  </a:lnTo>
                  <a:lnTo>
                    <a:pt x="1185144" y="103756"/>
                  </a:lnTo>
                  <a:lnTo>
                    <a:pt x="1168013" y="69225"/>
                  </a:lnTo>
                  <a:lnTo>
                    <a:pt x="977631" y="69225"/>
                  </a:lnTo>
                  <a:close/>
                  <a:moveTo>
                    <a:pt x="899760" y="207458"/>
                  </a:moveTo>
                  <a:lnTo>
                    <a:pt x="951692" y="207458"/>
                  </a:lnTo>
                  <a:lnTo>
                    <a:pt x="951692" y="69225"/>
                  </a:lnTo>
                  <a:lnTo>
                    <a:pt x="899760" y="69009"/>
                  </a:lnTo>
                  <a:lnTo>
                    <a:pt x="899760" y="207458"/>
                  </a:lnTo>
                  <a:close/>
                  <a:moveTo>
                    <a:pt x="112565" y="34477"/>
                  </a:moveTo>
                  <a:lnTo>
                    <a:pt x="112565" y="103756"/>
                  </a:lnTo>
                  <a:lnTo>
                    <a:pt x="86355" y="103756"/>
                  </a:lnTo>
                  <a:lnTo>
                    <a:pt x="112565" y="34477"/>
                  </a:lnTo>
                  <a:close/>
                  <a:moveTo>
                    <a:pt x="69225" y="0"/>
                  </a:moveTo>
                  <a:lnTo>
                    <a:pt x="0" y="207458"/>
                  </a:lnTo>
                  <a:lnTo>
                    <a:pt x="51878" y="207458"/>
                  </a:lnTo>
                  <a:lnTo>
                    <a:pt x="77817" y="138450"/>
                  </a:lnTo>
                  <a:lnTo>
                    <a:pt x="112565" y="138450"/>
                  </a:lnTo>
                  <a:lnTo>
                    <a:pt x="112565" y="207458"/>
                  </a:lnTo>
                  <a:lnTo>
                    <a:pt x="164443" y="207458"/>
                  </a:lnTo>
                  <a:lnTo>
                    <a:pt x="164443" y="0"/>
                  </a:lnTo>
                  <a:lnTo>
                    <a:pt x="69225" y="0"/>
                  </a:lnTo>
                  <a:close/>
                  <a:moveTo>
                    <a:pt x="190328" y="207458"/>
                  </a:moveTo>
                  <a:lnTo>
                    <a:pt x="242206" y="207458"/>
                  </a:lnTo>
                  <a:lnTo>
                    <a:pt x="242206" y="0"/>
                  </a:lnTo>
                  <a:lnTo>
                    <a:pt x="190328" y="0"/>
                  </a:lnTo>
                  <a:lnTo>
                    <a:pt x="190328" y="207458"/>
                  </a:lnTo>
                  <a:close/>
                  <a:moveTo>
                    <a:pt x="328615" y="0"/>
                  </a:moveTo>
                  <a:lnTo>
                    <a:pt x="328615" y="207458"/>
                  </a:lnTo>
                  <a:lnTo>
                    <a:pt x="380493" y="207458"/>
                  </a:lnTo>
                  <a:lnTo>
                    <a:pt x="380493" y="103756"/>
                  </a:lnTo>
                  <a:lnTo>
                    <a:pt x="415295" y="103756"/>
                  </a:lnTo>
                  <a:lnTo>
                    <a:pt x="415295" y="172981"/>
                  </a:lnTo>
                  <a:lnTo>
                    <a:pt x="432641" y="207458"/>
                  </a:lnTo>
                  <a:lnTo>
                    <a:pt x="553798" y="207458"/>
                  </a:lnTo>
                  <a:lnTo>
                    <a:pt x="553798" y="103756"/>
                  </a:lnTo>
                  <a:lnTo>
                    <a:pt x="579737" y="103756"/>
                  </a:lnTo>
                  <a:lnTo>
                    <a:pt x="579737" y="207458"/>
                  </a:lnTo>
                  <a:lnTo>
                    <a:pt x="631561" y="207458"/>
                  </a:lnTo>
                  <a:lnTo>
                    <a:pt x="631561" y="103756"/>
                  </a:lnTo>
                  <a:lnTo>
                    <a:pt x="657555" y="103756"/>
                  </a:lnTo>
                  <a:lnTo>
                    <a:pt x="657555" y="207458"/>
                  </a:lnTo>
                  <a:lnTo>
                    <a:pt x="709433" y="207458"/>
                  </a:lnTo>
                  <a:lnTo>
                    <a:pt x="709433" y="103756"/>
                  </a:lnTo>
                  <a:lnTo>
                    <a:pt x="735372" y="103756"/>
                  </a:lnTo>
                  <a:lnTo>
                    <a:pt x="735372" y="69225"/>
                  </a:lnTo>
                  <a:lnTo>
                    <a:pt x="709433" y="69225"/>
                  </a:lnTo>
                  <a:lnTo>
                    <a:pt x="709433" y="34477"/>
                  </a:lnTo>
                  <a:lnTo>
                    <a:pt x="657555" y="34477"/>
                  </a:lnTo>
                  <a:lnTo>
                    <a:pt x="657555" y="69225"/>
                  </a:lnTo>
                  <a:lnTo>
                    <a:pt x="631561" y="69225"/>
                  </a:lnTo>
                  <a:lnTo>
                    <a:pt x="631561" y="34477"/>
                  </a:lnTo>
                  <a:lnTo>
                    <a:pt x="579737" y="34477"/>
                  </a:lnTo>
                  <a:lnTo>
                    <a:pt x="579737" y="69225"/>
                  </a:lnTo>
                  <a:lnTo>
                    <a:pt x="501650" y="69225"/>
                  </a:lnTo>
                  <a:lnTo>
                    <a:pt x="501650" y="172927"/>
                  </a:lnTo>
                  <a:lnTo>
                    <a:pt x="467173" y="172927"/>
                  </a:lnTo>
                  <a:lnTo>
                    <a:pt x="467173" y="69225"/>
                  </a:lnTo>
                  <a:lnTo>
                    <a:pt x="380547" y="69225"/>
                  </a:lnTo>
                  <a:lnTo>
                    <a:pt x="380547" y="34477"/>
                  </a:lnTo>
                  <a:lnTo>
                    <a:pt x="467173" y="34477"/>
                  </a:lnTo>
                  <a:lnTo>
                    <a:pt x="467173" y="0"/>
                  </a:lnTo>
                  <a:lnTo>
                    <a:pt x="328669" y="0"/>
                  </a:lnTo>
                  <a:close/>
                  <a:moveTo>
                    <a:pt x="899760" y="34477"/>
                  </a:moveTo>
                  <a:lnTo>
                    <a:pt x="951692" y="34477"/>
                  </a:lnTo>
                  <a:lnTo>
                    <a:pt x="951692" y="0"/>
                  </a:lnTo>
                  <a:lnTo>
                    <a:pt x="899760" y="0"/>
                  </a:lnTo>
                  <a:lnTo>
                    <a:pt x="899760" y="34477"/>
                  </a:lnTo>
                  <a:close/>
                </a:path>
              </a:pathLst>
            </a:custGeom>
            <a:solidFill>
              <a:srgbClr val="004F9F"/>
            </a:solidFill>
            <a:ln w="538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C0A2ECA4-B178-EC9C-089B-F475B51F1D2C}"/>
                </a:ext>
              </a:extLst>
            </p:cNvPr>
            <p:cNvSpPr/>
            <p:nvPr/>
          </p:nvSpPr>
          <p:spPr>
            <a:xfrm>
              <a:off x="9951588" y="538699"/>
              <a:ext cx="415348" cy="363146"/>
            </a:xfrm>
            <a:custGeom>
              <a:avLst/>
              <a:gdLst>
                <a:gd name="connsiteX0" fmla="*/ 156175 w 415348"/>
                <a:gd name="connsiteY0" fmla="*/ 155526 h 363146"/>
                <a:gd name="connsiteX1" fmla="*/ 207782 w 415348"/>
                <a:gd name="connsiteY1" fmla="*/ 103864 h 363146"/>
                <a:gd name="connsiteX2" fmla="*/ 259390 w 415348"/>
                <a:gd name="connsiteY2" fmla="*/ 155526 h 363146"/>
                <a:gd name="connsiteX3" fmla="*/ 207782 w 415348"/>
                <a:gd name="connsiteY3" fmla="*/ 207296 h 363146"/>
                <a:gd name="connsiteX4" fmla="*/ 156175 w 415348"/>
                <a:gd name="connsiteY4" fmla="*/ 155526 h 363146"/>
                <a:gd name="connsiteX5" fmla="*/ 207782 w 415348"/>
                <a:gd name="connsiteY5" fmla="*/ 0 h 363146"/>
                <a:gd name="connsiteX6" fmla="*/ 0 w 415348"/>
                <a:gd name="connsiteY6" fmla="*/ 207350 h 363146"/>
                <a:gd name="connsiteX7" fmla="*/ 51986 w 415348"/>
                <a:gd name="connsiteY7" fmla="*/ 259228 h 363146"/>
                <a:gd name="connsiteX8" fmla="*/ 104134 w 415348"/>
                <a:gd name="connsiteY8" fmla="*/ 207512 h 363146"/>
                <a:gd name="connsiteX9" fmla="*/ 155904 w 415348"/>
                <a:gd name="connsiteY9" fmla="*/ 259499 h 363146"/>
                <a:gd name="connsiteX10" fmla="*/ 103810 w 415348"/>
                <a:gd name="connsiteY10" fmla="*/ 311593 h 363146"/>
                <a:gd name="connsiteX11" fmla="*/ 155904 w 415348"/>
                <a:gd name="connsiteY11" fmla="*/ 363147 h 363146"/>
                <a:gd name="connsiteX12" fmla="*/ 206810 w 415348"/>
                <a:gd name="connsiteY12" fmla="*/ 311431 h 363146"/>
                <a:gd name="connsiteX13" fmla="*/ 259823 w 415348"/>
                <a:gd name="connsiteY13" fmla="*/ 363147 h 363146"/>
                <a:gd name="connsiteX14" fmla="*/ 311485 w 415348"/>
                <a:gd name="connsiteY14" fmla="*/ 311431 h 363146"/>
                <a:gd name="connsiteX15" fmla="*/ 259823 w 415348"/>
                <a:gd name="connsiteY15" fmla="*/ 259769 h 363146"/>
                <a:gd name="connsiteX16" fmla="*/ 312025 w 415348"/>
                <a:gd name="connsiteY16" fmla="*/ 207512 h 363146"/>
                <a:gd name="connsiteX17" fmla="*/ 363633 w 415348"/>
                <a:gd name="connsiteY17" fmla="*/ 259228 h 363146"/>
                <a:gd name="connsiteX18" fmla="*/ 415349 w 415348"/>
                <a:gd name="connsiteY18" fmla="*/ 207512 h 363146"/>
                <a:gd name="connsiteX19" fmla="*/ 207782 w 415348"/>
                <a:gd name="connsiteY19" fmla="*/ 0 h 3631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415348" h="363146">
                  <a:moveTo>
                    <a:pt x="156175" y="155526"/>
                  </a:moveTo>
                  <a:lnTo>
                    <a:pt x="207782" y="103864"/>
                  </a:lnTo>
                  <a:lnTo>
                    <a:pt x="259390" y="155526"/>
                  </a:lnTo>
                  <a:lnTo>
                    <a:pt x="207782" y="207296"/>
                  </a:lnTo>
                  <a:lnTo>
                    <a:pt x="156175" y="155526"/>
                  </a:lnTo>
                  <a:close/>
                  <a:moveTo>
                    <a:pt x="207782" y="0"/>
                  </a:moveTo>
                  <a:lnTo>
                    <a:pt x="0" y="207350"/>
                  </a:lnTo>
                  <a:lnTo>
                    <a:pt x="51986" y="259228"/>
                  </a:lnTo>
                  <a:lnTo>
                    <a:pt x="104134" y="207512"/>
                  </a:lnTo>
                  <a:lnTo>
                    <a:pt x="155904" y="259499"/>
                  </a:lnTo>
                  <a:lnTo>
                    <a:pt x="103810" y="311593"/>
                  </a:lnTo>
                  <a:lnTo>
                    <a:pt x="155904" y="363147"/>
                  </a:lnTo>
                  <a:lnTo>
                    <a:pt x="206810" y="311431"/>
                  </a:lnTo>
                  <a:lnTo>
                    <a:pt x="259823" y="363147"/>
                  </a:lnTo>
                  <a:lnTo>
                    <a:pt x="311485" y="311431"/>
                  </a:lnTo>
                  <a:lnTo>
                    <a:pt x="259823" y="259769"/>
                  </a:lnTo>
                  <a:lnTo>
                    <a:pt x="312025" y="207512"/>
                  </a:lnTo>
                  <a:lnTo>
                    <a:pt x="363633" y="259228"/>
                  </a:lnTo>
                  <a:lnTo>
                    <a:pt x="415349" y="207512"/>
                  </a:lnTo>
                  <a:lnTo>
                    <a:pt x="207782" y="0"/>
                  </a:lnTo>
                  <a:close/>
                </a:path>
              </a:pathLst>
            </a:custGeom>
            <a:solidFill>
              <a:schemeClr val="accent2"/>
            </a:solidFill>
            <a:ln w="538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2154859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1" userDrawn="1">
          <p15:clr>
            <a:srgbClr val="FBAE40"/>
          </p15:clr>
        </p15:guide>
        <p15:guide id="2" orient="horz" pos="3070" userDrawn="1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 and contact_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70B7E7AC-F61D-BAAD-21A2-FF6105310ED7}"/>
              </a:ext>
            </a:extLst>
          </p:cNvPr>
          <p:cNvSpPr>
            <a:spLocks/>
          </p:cNvSpPr>
          <p:nvPr userDrawn="1"/>
        </p:nvSpPr>
        <p:spPr>
          <a:xfrm>
            <a:off x="7709066" y="0"/>
            <a:ext cx="4482934" cy="685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BABAA35-1304-A3EC-A9C3-854E14C4664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481001" y="6463427"/>
            <a:ext cx="5868065" cy="12311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Al-Futtaim Template 2025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4206CEE7-7789-CB91-EF4D-3B100C9CE898}"/>
              </a:ext>
            </a:extLst>
          </p:cNvPr>
          <p:cNvGrpSpPr/>
          <p:nvPr userDrawn="1"/>
        </p:nvGrpSpPr>
        <p:grpSpPr>
          <a:xfrm>
            <a:off x="9951588" y="538699"/>
            <a:ext cx="1704301" cy="363146"/>
            <a:chOff x="9951588" y="538699"/>
            <a:chExt cx="1704301" cy="363146"/>
          </a:xfrm>
          <a:solidFill>
            <a:schemeClr val="bg1"/>
          </a:solidFill>
        </p:grpSpPr>
        <p:sp>
          <p:nvSpPr>
            <p:cNvPr id="8" name="Freeform: Shape 7">
              <a:extLst>
                <a:ext uri="{FF2B5EF4-FFF2-40B4-BE49-F238E27FC236}">
                  <a16:creationId xmlns:a16="http://schemas.microsoft.com/office/drawing/2014/main" id="{0E5AA8AB-2619-D1A1-94A8-5450D8107697}"/>
                </a:ext>
              </a:extLst>
            </p:cNvPr>
            <p:cNvSpPr/>
            <p:nvPr/>
          </p:nvSpPr>
          <p:spPr>
            <a:xfrm>
              <a:off x="10470746" y="642617"/>
              <a:ext cx="1185143" cy="207458"/>
            </a:xfrm>
            <a:custGeom>
              <a:avLst/>
              <a:gdLst>
                <a:gd name="connsiteX0" fmla="*/ 259606 w 1185143"/>
                <a:gd name="connsiteY0" fmla="*/ 138234 h 207458"/>
                <a:gd name="connsiteX1" fmla="*/ 311539 w 1185143"/>
                <a:gd name="connsiteY1" fmla="*/ 138234 h 207458"/>
                <a:gd name="connsiteX2" fmla="*/ 311539 w 1185143"/>
                <a:gd name="connsiteY2" fmla="*/ 103486 h 207458"/>
                <a:gd name="connsiteX3" fmla="*/ 259606 w 1185143"/>
                <a:gd name="connsiteY3" fmla="*/ 103486 h 207458"/>
                <a:gd name="connsiteX4" fmla="*/ 259606 w 1185143"/>
                <a:gd name="connsiteY4" fmla="*/ 138234 h 207458"/>
                <a:gd name="connsiteX5" fmla="*/ 787196 w 1185143"/>
                <a:gd name="connsiteY5" fmla="*/ 103756 h 207458"/>
                <a:gd name="connsiteX6" fmla="*/ 821943 w 1185143"/>
                <a:gd name="connsiteY6" fmla="*/ 103756 h 207458"/>
                <a:gd name="connsiteX7" fmla="*/ 821943 w 1185143"/>
                <a:gd name="connsiteY7" fmla="*/ 172981 h 207458"/>
                <a:gd name="connsiteX8" fmla="*/ 787196 w 1185143"/>
                <a:gd name="connsiteY8" fmla="*/ 172981 h 207458"/>
                <a:gd name="connsiteX9" fmla="*/ 787196 w 1185143"/>
                <a:gd name="connsiteY9" fmla="*/ 103756 h 207458"/>
                <a:gd name="connsiteX10" fmla="*/ 752718 w 1185143"/>
                <a:gd name="connsiteY10" fmla="*/ 69225 h 207458"/>
                <a:gd name="connsiteX11" fmla="*/ 735318 w 1185143"/>
                <a:gd name="connsiteY11" fmla="*/ 103756 h 207458"/>
                <a:gd name="connsiteX12" fmla="*/ 735318 w 1185143"/>
                <a:gd name="connsiteY12" fmla="*/ 172981 h 207458"/>
                <a:gd name="connsiteX13" fmla="*/ 752718 w 1185143"/>
                <a:gd name="connsiteY13" fmla="*/ 207458 h 207458"/>
                <a:gd name="connsiteX14" fmla="*/ 873821 w 1185143"/>
                <a:gd name="connsiteY14" fmla="*/ 207458 h 207458"/>
                <a:gd name="connsiteX15" fmla="*/ 873821 w 1185143"/>
                <a:gd name="connsiteY15" fmla="*/ 69225 h 207458"/>
                <a:gd name="connsiteX16" fmla="*/ 752718 w 1185143"/>
                <a:gd name="connsiteY16" fmla="*/ 69225 h 207458"/>
                <a:gd name="connsiteX17" fmla="*/ 977577 w 1185143"/>
                <a:gd name="connsiteY17" fmla="*/ 69225 h 207458"/>
                <a:gd name="connsiteX18" fmla="*/ 977577 w 1185143"/>
                <a:gd name="connsiteY18" fmla="*/ 207458 h 207458"/>
                <a:gd name="connsiteX19" fmla="*/ 1029455 w 1185143"/>
                <a:gd name="connsiteY19" fmla="*/ 207458 h 207458"/>
                <a:gd name="connsiteX20" fmla="*/ 1029455 w 1185143"/>
                <a:gd name="connsiteY20" fmla="*/ 103756 h 207458"/>
                <a:gd name="connsiteX21" fmla="*/ 1055394 w 1185143"/>
                <a:gd name="connsiteY21" fmla="*/ 103756 h 207458"/>
                <a:gd name="connsiteX22" fmla="*/ 1055394 w 1185143"/>
                <a:gd name="connsiteY22" fmla="*/ 207458 h 207458"/>
                <a:gd name="connsiteX23" fmla="*/ 1107273 w 1185143"/>
                <a:gd name="connsiteY23" fmla="*/ 207458 h 207458"/>
                <a:gd name="connsiteX24" fmla="*/ 1107273 w 1185143"/>
                <a:gd name="connsiteY24" fmla="*/ 103756 h 207458"/>
                <a:gd name="connsiteX25" fmla="*/ 1133266 w 1185143"/>
                <a:gd name="connsiteY25" fmla="*/ 103756 h 207458"/>
                <a:gd name="connsiteX26" fmla="*/ 1133266 w 1185143"/>
                <a:gd name="connsiteY26" fmla="*/ 207458 h 207458"/>
                <a:gd name="connsiteX27" fmla="*/ 1185144 w 1185143"/>
                <a:gd name="connsiteY27" fmla="*/ 207458 h 207458"/>
                <a:gd name="connsiteX28" fmla="*/ 1185144 w 1185143"/>
                <a:gd name="connsiteY28" fmla="*/ 103756 h 207458"/>
                <a:gd name="connsiteX29" fmla="*/ 1168013 w 1185143"/>
                <a:gd name="connsiteY29" fmla="*/ 69225 h 207458"/>
                <a:gd name="connsiteX30" fmla="*/ 977631 w 1185143"/>
                <a:gd name="connsiteY30" fmla="*/ 69225 h 207458"/>
                <a:gd name="connsiteX31" fmla="*/ 899760 w 1185143"/>
                <a:gd name="connsiteY31" fmla="*/ 207458 h 207458"/>
                <a:gd name="connsiteX32" fmla="*/ 951692 w 1185143"/>
                <a:gd name="connsiteY32" fmla="*/ 207458 h 207458"/>
                <a:gd name="connsiteX33" fmla="*/ 951692 w 1185143"/>
                <a:gd name="connsiteY33" fmla="*/ 69225 h 207458"/>
                <a:gd name="connsiteX34" fmla="*/ 899760 w 1185143"/>
                <a:gd name="connsiteY34" fmla="*/ 69009 h 207458"/>
                <a:gd name="connsiteX35" fmla="*/ 899760 w 1185143"/>
                <a:gd name="connsiteY35" fmla="*/ 207458 h 207458"/>
                <a:gd name="connsiteX36" fmla="*/ 112565 w 1185143"/>
                <a:gd name="connsiteY36" fmla="*/ 34477 h 207458"/>
                <a:gd name="connsiteX37" fmla="*/ 112565 w 1185143"/>
                <a:gd name="connsiteY37" fmla="*/ 103756 h 207458"/>
                <a:gd name="connsiteX38" fmla="*/ 86355 w 1185143"/>
                <a:gd name="connsiteY38" fmla="*/ 103756 h 207458"/>
                <a:gd name="connsiteX39" fmla="*/ 112565 w 1185143"/>
                <a:gd name="connsiteY39" fmla="*/ 34477 h 207458"/>
                <a:gd name="connsiteX40" fmla="*/ 69225 w 1185143"/>
                <a:gd name="connsiteY40" fmla="*/ 0 h 207458"/>
                <a:gd name="connsiteX41" fmla="*/ 0 w 1185143"/>
                <a:gd name="connsiteY41" fmla="*/ 207458 h 207458"/>
                <a:gd name="connsiteX42" fmla="*/ 51878 w 1185143"/>
                <a:gd name="connsiteY42" fmla="*/ 207458 h 207458"/>
                <a:gd name="connsiteX43" fmla="*/ 77817 w 1185143"/>
                <a:gd name="connsiteY43" fmla="*/ 138450 h 207458"/>
                <a:gd name="connsiteX44" fmla="*/ 112565 w 1185143"/>
                <a:gd name="connsiteY44" fmla="*/ 138450 h 207458"/>
                <a:gd name="connsiteX45" fmla="*/ 112565 w 1185143"/>
                <a:gd name="connsiteY45" fmla="*/ 207458 h 207458"/>
                <a:gd name="connsiteX46" fmla="*/ 164443 w 1185143"/>
                <a:gd name="connsiteY46" fmla="*/ 207458 h 207458"/>
                <a:gd name="connsiteX47" fmla="*/ 164443 w 1185143"/>
                <a:gd name="connsiteY47" fmla="*/ 0 h 207458"/>
                <a:gd name="connsiteX48" fmla="*/ 69225 w 1185143"/>
                <a:gd name="connsiteY48" fmla="*/ 0 h 207458"/>
                <a:gd name="connsiteX49" fmla="*/ 190328 w 1185143"/>
                <a:gd name="connsiteY49" fmla="*/ 207458 h 207458"/>
                <a:gd name="connsiteX50" fmla="*/ 242206 w 1185143"/>
                <a:gd name="connsiteY50" fmla="*/ 207458 h 207458"/>
                <a:gd name="connsiteX51" fmla="*/ 242206 w 1185143"/>
                <a:gd name="connsiteY51" fmla="*/ 0 h 207458"/>
                <a:gd name="connsiteX52" fmla="*/ 190328 w 1185143"/>
                <a:gd name="connsiteY52" fmla="*/ 0 h 207458"/>
                <a:gd name="connsiteX53" fmla="*/ 190328 w 1185143"/>
                <a:gd name="connsiteY53" fmla="*/ 207458 h 207458"/>
                <a:gd name="connsiteX54" fmla="*/ 328615 w 1185143"/>
                <a:gd name="connsiteY54" fmla="*/ 0 h 207458"/>
                <a:gd name="connsiteX55" fmla="*/ 328615 w 1185143"/>
                <a:gd name="connsiteY55" fmla="*/ 207458 h 207458"/>
                <a:gd name="connsiteX56" fmla="*/ 380493 w 1185143"/>
                <a:gd name="connsiteY56" fmla="*/ 207458 h 207458"/>
                <a:gd name="connsiteX57" fmla="*/ 380493 w 1185143"/>
                <a:gd name="connsiteY57" fmla="*/ 103756 h 207458"/>
                <a:gd name="connsiteX58" fmla="*/ 415295 w 1185143"/>
                <a:gd name="connsiteY58" fmla="*/ 103756 h 207458"/>
                <a:gd name="connsiteX59" fmla="*/ 415295 w 1185143"/>
                <a:gd name="connsiteY59" fmla="*/ 172981 h 207458"/>
                <a:gd name="connsiteX60" fmla="*/ 432641 w 1185143"/>
                <a:gd name="connsiteY60" fmla="*/ 207458 h 207458"/>
                <a:gd name="connsiteX61" fmla="*/ 553798 w 1185143"/>
                <a:gd name="connsiteY61" fmla="*/ 207458 h 207458"/>
                <a:gd name="connsiteX62" fmla="*/ 553798 w 1185143"/>
                <a:gd name="connsiteY62" fmla="*/ 103756 h 207458"/>
                <a:gd name="connsiteX63" fmla="*/ 579737 w 1185143"/>
                <a:gd name="connsiteY63" fmla="*/ 103756 h 207458"/>
                <a:gd name="connsiteX64" fmla="*/ 579737 w 1185143"/>
                <a:gd name="connsiteY64" fmla="*/ 207458 h 207458"/>
                <a:gd name="connsiteX65" fmla="*/ 631561 w 1185143"/>
                <a:gd name="connsiteY65" fmla="*/ 207458 h 207458"/>
                <a:gd name="connsiteX66" fmla="*/ 631561 w 1185143"/>
                <a:gd name="connsiteY66" fmla="*/ 103756 h 207458"/>
                <a:gd name="connsiteX67" fmla="*/ 657555 w 1185143"/>
                <a:gd name="connsiteY67" fmla="*/ 103756 h 207458"/>
                <a:gd name="connsiteX68" fmla="*/ 657555 w 1185143"/>
                <a:gd name="connsiteY68" fmla="*/ 207458 h 207458"/>
                <a:gd name="connsiteX69" fmla="*/ 709433 w 1185143"/>
                <a:gd name="connsiteY69" fmla="*/ 207458 h 207458"/>
                <a:gd name="connsiteX70" fmla="*/ 709433 w 1185143"/>
                <a:gd name="connsiteY70" fmla="*/ 103756 h 207458"/>
                <a:gd name="connsiteX71" fmla="*/ 735372 w 1185143"/>
                <a:gd name="connsiteY71" fmla="*/ 103756 h 207458"/>
                <a:gd name="connsiteX72" fmla="*/ 735372 w 1185143"/>
                <a:gd name="connsiteY72" fmla="*/ 69225 h 207458"/>
                <a:gd name="connsiteX73" fmla="*/ 709433 w 1185143"/>
                <a:gd name="connsiteY73" fmla="*/ 69225 h 207458"/>
                <a:gd name="connsiteX74" fmla="*/ 709433 w 1185143"/>
                <a:gd name="connsiteY74" fmla="*/ 34477 h 207458"/>
                <a:gd name="connsiteX75" fmla="*/ 657555 w 1185143"/>
                <a:gd name="connsiteY75" fmla="*/ 34477 h 207458"/>
                <a:gd name="connsiteX76" fmla="*/ 657555 w 1185143"/>
                <a:gd name="connsiteY76" fmla="*/ 69225 h 207458"/>
                <a:gd name="connsiteX77" fmla="*/ 631561 w 1185143"/>
                <a:gd name="connsiteY77" fmla="*/ 69225 h 207458"/>
                <a:gd name="connsiteX78" fmla="*/ 631561 w 1185143"/>
                <a:gd name="connsiteY78" fmla="*/ 34477 h 207458"/>
                <a:gd name="connsiteX79" fmla="*/ 579737 w 1185143"/>
                <a:gd name="connsiteY79" fmla="*/ 34477 h 207458"/>
                <a:gd name="connsiteX80" fmla="*/ 579737 w 1185143"/>
                <a:gd name="connsiteY80" fmla="*/ 69225 h 207458"/>
                <a:gd name="connsiteX81" fmla="*/ 501650 w 1185143"/>
                <a:gd name="connsiteY81" fmla="*/ 69225 h 207458"/>
                <a:gd name="connsiteX82" fmla="*/ 501650 w 1185143"/>
                <a:gd name="connsiteY82" fmla="*/ 172927 h 207458"/>
                <a:gd name="connsiteX83" fmla="*/ 467173 w 1185143"/>
                <a:gd name="connsiteY83" fmla="*/ 172927 h 207458"/>
                <a:gd name="connsiteX84" fmla="*/ 467173 w 1185143"/>
                <a:gd name="connsiteY84" fmla="*/ 69225 h 207458"/>
                <a:gd name="connsiteX85" fmla="*/ 380547 w 1185143"/>
                <a:gd name="connsiteY85" fmla="*/ 69225 h 207458"/>
                <a:gd name="connsiteX86" fmla="*/ 380547 w 1185143"/>
                <a:gd name="connsiteY86" fmla="*/ 34477 h 207458"/>
                <a:gd name="connsiteX87" fmla="*/ 467173 w 1185143"/>
                <a:gd name="connsiteY87" fmla="*/ 34477 h 207458"/>
                <a:gd name="connsiteX88" fmla="*/ 467173 w 1185143"/>
                <a:gd name="connsiteY88" fmla="*/ 0 h 207458"/>
                <a:gd name="connsiteX89" fmla="*/ 328669 w 1185143"/>
                <a:gd name="connsiteY89" fmla="*/ 0 h 207458"/>
                <a:gd name="connsiteX90" fmla="*/ 899760 w 1185143"/>
                <a:gd name="connsiteY90" fmla="*/ 34477 h 207458"/>
                <a:gd name="connsiteX91" fmla="*/ 951692 w 1185143"/>
                <a:gd name="connsiteY91" fmla="*/ 34477 h 207458"/>
                <a:gd name="connsiteX92" fmla="*/ 951692 w 1185143"/>
                <a:gd name="connsiteY92" fmla="*/ 0 h 207458"/>
                <a:gd name="connsiteX93" fmla="*/ 899760 w 1185143"/>
                <a:gd name="connsiteY93" fmla="*/ 0 h 207458"/>
                <a:gd name="connsiteX94" fmla="*/ 899760 w 1185143"/>
                <a:gd name="connsiteY94" fmla="*/ 34477 h 2074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</a:cxnLst>
              <a:rect l="l" t="t" r="r" b="b"/>
              <a:pathLst>
                <a:path w="1185143" h="207458">
                  <a:moveTo>
                    <a:pt x="259606" y="138234"/>
                  </a:moveTo>
                  <a:lnTo>
                    <a:pt x="311539" y="138234"/>
                  </a:lnTo>
                  <a:lnTo>
                    <a:pt x="311539" y="103486"/>
                  </a:lnTo>
                  <a:lnTo>
                    <a:pt x="259606" y="103486"/>
                  </a:lnTo>
                  <a:lnTo>
                    <a:pt x="259606" y="138234"/>
                  </a:lnTo>
                  <a:close/>
                  <a:moveTo>
                    <a:pt x="787196" y="103756"/>
                  </a:moveTo>
                  <a:lnTo>
                    <a:pt x="821943" y="103756"/>
                  </a:lnTo>
                  <a:lnTo>
                    <a:pt x="821943" y="172981"/>
                  </a:lnTo>
                  <a:lnTo>
                    <a:pt x="787196" y="172981"/>
                  </a:lnTo>
                  <a:lnTo>
                    <a:pt x="787196" y="103756"/>
                  </a:lnTo>
                  <a:close/>
                  <a:moveTo>
                    <a:pt x="752718" y="69225"/>
                  </a:moveTo>
                  <a:lnTo>
                    <a:pt x="735318" y="103756"/>
                  </a:lnTo>
                  <a:lnTo>
                    <a:pt x="735318" y="172981"/>
                  </a:lnTo>
                  <a:lnTo>
                    <a:pt x="752718" y="207458"/>
                  </a:lnTo>
                  <a:lnTo>
                    <a:pt x="873821" y="207458"/>
                  </a:lnTo>
                  <a:lnTo>
                    <a:pt x="873821" y="69225"/>
                  </a:lnTo>
                  <a:lnTo>
                    <a:pt x="752718" y="69225"/>
                  </a:lnTo>
                  <a:close/>
                  <a:moveTo>
                    <a:pt x="977577" y="69225"/>
                  </a:moveTo>
                  <a:lnTo>
                    <a:pt x="977577" y="207458"/>
                  </a:lnTo>
                  <a:lnTo>
                    <a:pt x="1029455" y="207458"/>
                  </a:lnTo>
                  <a:lnTo>
                    <a:pt x="1029455" y="103756"/>
                  </a:lnTo>
                  <a:lnTo>
                    <a:pt x="1055394" y="103756"/>
                  </a:lnTo>
                  <a:lnTo>
                    <a:pt x="1055394" y="207458"/>
                  </a:lnTo>
                  <a:lnTo>
                    <a:pt x="1107273" y="207458"/>
                  </a:lnTo>
                  <a:lnTo>
                    <a:pt x="1107273" y="103756"/>
                  </a:lnTo>
                  <a:lnTo>
                    <a:pt x="1133266" y="103756"/>
                  </a:lnTo>
                  <a:lnTo>
                    <a:pt x="1133266" y="207458"/>
                  </a:lnTo>
                  <a:lnTo>
                    <a:pt x="1185144" y="207458"/>
                  </a:lnTo>
                  <a:lnTo>
                    <a:pt x="1185144" y="103756"/>
                  </a:lnTo>
                  <a:lnTo>
                    <a:pt x="1168013" y="69225"/>
                  </a:lnTo>
                  <a:lnTo>
                    <a:pt x="977631" y="69225"/>
                  </a:lnTo>
                  <a:close/>
                  <a:moveTo>
                    <a:pt x="899760" y="207458"/>
                  </a:moveTo>
                  <a:lnTo>
                    <a:pt x="951692" y="207458"/>
                  </a:lnTo>
                  <a:lnTo>
                    <a:pt x="951692" y="69225"/>
                  </a:lnTo>
                  <a:lnTo>
                    <a:pt x="899760" y="69009"/>
                  </a:lnTo>
                  <a:lnTo>
                    <a:pt x="899760" y="207458"/>
                  </a:lnTo>
                  <a:close/>
                  <a:moveTo>
                    <a:pt x="112565" y="34477"/>
                  </a:moveTo>
                  <a:lnTo>
                    <a:pt x="112565" y="103756"/>
                  </a:lnTo>
                  <a:lnTo>
                    <a:pt x="86355" y="103756"/>
                  </a:lnTo>
                  <a:lnTo>
                    <a:pt x="112565" y="34477"/>
                  </a:lnTo>
                  <a:close/>
                  <a:moveTo>
                    <a:pt x="69225" y="0"/>
                  </a:moveTo>
                  <a:lnTo>
                    <a:pt x="0" y="207458"/>
                  </a:lnTo>
                  <a:lnTo>
                    <a:pt x="51878" y="207458"/>
                  </a:lnTo>
                  <a:lnTo>
                    <a:pt x="77817" y="138450"/>
                  </a:lnTo>
                  <a:lnTo>
                    <a:pt x="112565" y="138450"/>
                  </a:lnTo>
                  <a:lnTo>
                    <a:pt x="112565" y="207458"/>
                  </a:lnTo>
                  <a:lnTo>
                    <a:pt x="164443" y="207458"/>
                  </a:lnTo>
                  <a:lnTo>
                    <a:pt x="164443" y="0"/>
                  </a:lnTo>
                  <a:lnTo>
                    <a:pt x="69225" y="0"/>
                  </a:lnTo>
                  <a:close/>
                  <a:moveTo>
                    <a:pt x="190328" y="207458"/>
                  </a:moveTo>
                  <a:lnTo>
                    <a:pt x="242206" y="207458"/>
                  </a:lnTo>
                  <a:lnTo>
                    <a:pt x="242206" y="0"/>
                  </a:lnTo>
                  <a:lnTo>
                    <a:pt x="190328" y="0"/>
                  </a:lnTo>
                  <a:lnTo>
                    <a:pt x="190328" y="207458"/>
                  </a:lnTo>
                  <a:close/>
                  <a:moveTo>
                    <a:pt x="328615" y="0"/>
                  </a:moveTo>
                  <a:lnTo>
                    <a:pt x="328615" y="207458"/>
                  </a:lnTo>
                  <a:lnTo>
                    <a:pt x="380493" y="207458"/>
                  </a:lnTo>
                  <a:lnTo>
                    <a:pt x="380493" y="103756"/>
                  </a:lnTo>
                  <a:lnTo>
                    <a:pt x="415295" y="103756"/>
                  </a:lnTo>
                  <a:lnTo>
                    <a:pt x="415295" y="172981"/>
                  </a:lnTo>
                  <a:lnTo>
                    <a:pt x="432641" y="207458"/>
                  </a:lnTo>
                  <a:lnTo>
                    <a:pt x="553798" y="207458"/>
                  </a:lnTo>
                  <a:lnTo>
                    <a:pt x="553798" y="103756"/>
                  </a:lnTo>
                  <a:lnTo>
                    <a:pt x="579737" y="103756"/>
                  </a:lnTo>
                  <a:lnTo>
                    <a:pt x="579737" y="207458"/>
                  </a:lnTo>
                  <a:lnTo>
                    <a:pt x="631561" y="207458"/>
                  </a:lnTo>
                  <a:lnTo>
                    <a:pt x="631561" y="103756"/>
                  </a:lnTo>
                  <a:lnTo>
                    <a:pt x="657555" y="103756"/>
                  </a:lnTo>
                  <a:lnTo>
                    <a:pt x="657555" y="207458"/>
                  </a:lnTo>
                  <a:lnTo>
                    <a:pt x="709433" y="207458"/>
                  </a:lnTo>
                  <a:lnTo>
                    <a:pt x="709433" y="103756"/>
                  </a:lnTo>
                  <a:lnTo>
                    <a:pt x="735372" y="103756"/>
                  </a:lnTo>
                  <a:lnTo>
                    <a:pt x="735372" y="69225"/>
                  </a:lnTo>
                  <a:lnTo>
                    <a:pt x="709433" y="69225"/>
                  </a:lnTo>
                  <a:lnTo>
                    <a:pt x="709433" y="34477"/>
                  </a:lnTo>
                  <a:lnTo>
                    <a:pt x="657555" y="34477"/>
                  </a:lnTo>
                  <a:lnTo>
                    <a:pt x="657555" y="69225"/>
                  </a:lnTo>
                  <a:lnTo>
                    <a:pt x="631561" y="69225"/>
                  </a:lnTo>
                  <a:lnTo>
                    <a:pt x="631561" y="34477"/>
                  </a:lnTo>
                  <a:lnTo>
                    <a:pt x="579737" y="34477"/>
                  </a:lnTo>
                  <a:lnTo>
                    <a:pt x="579737" y="69225"/>
                  </a:lnTo>
                  <a:lnTo>
                    <a:pt x="501650" y="69225"/>
                  </a:lnTo>
                  <a:lnTo>
                    <a:pt x="501650" y="172927"/>
                  </a:lnTo>
                  <a:lnTo>
                    <a:pt x="467173" y="172927"/>
                  </a:lnTo>
                  <a:lnTo>
                    <a:pt x="467173" y="69225"/>
                  </a:lnTo>
                  <a:lnTo>
                    <a:pt x="380547" y="69225"/>
                  </a:lnTo>
                  <a:lnTo>
                    <a:pt x="380547" y="34477"/>
                  </a:lnTo>
                  <a:lnTo>
                    <a:pt x="467173" y="34477"/>
                  </a:lnTo>
                  <a:lnTo>
                    <a:pt x="467173" y="0"/>
                  </a:lnTo>
                  <a:lnTo>
                    <a:pt x="328669" y="0"/>
                  </a:lnTo>
                  <a:close/>
                  <a:moveTo>
                    <a:pt x="899760" y="34477"/>
                  </a:moveTo>
                  <a:lnTo>
                    <a:pt x="951692" y="34477"/>
                  </a:lnTo>
                  <a:lnTo>
                    <a:pt x="951692" y="0"/>
                  </a:lnTo>
                  <a:lnTo>
                    <a:pt x="899760" y="0"/>
                  </a:lnTo>
                  <a:lnTo>
                    <a:pt x="899760" y="34477"/>
                  </a:lnTo>
                  <a:close/>
                </a:path>
              </a:pathLst>
            </a:custGeom>
            <a:grpFill/>
            <a:ln w="538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" name="Freeform: Shape 8">
              <a:extLst>
                <a:ext uri="{FF2B5EF4-FFF2-40B4-BE49-F238E27FC236}">
                  <a16:creationId xmlns:a16="http://schemas.microsoft.com/office/drawing/2014/main" id="{4B16180B-1850-72D4-B81C-33C05B2769E8}"/>
                </a:ext>
              </a:extLst>
            </p:cNvPr>
            <p:cNvSpPr/>
            <p:nvPr/>
          </p:nvSpPr>
          <p:spPr>
            <a:xfrm>
              <a:off x="9951588" y="538699"/>
              <a:ext cx="415348" cy="363146"/>
            </a:xfrm>
            <a:custGeom>
              <a:avLst/>
              <a:gdLst>
                <a:gd name="connsiteX0" fmla="*/ 156175 w 415348"/>
                <a:gd name="connsiteY0" fmla="*/ 155526 h 363146"/>
                <a:gd name="connsiteX1" fmla="*/ 207782 w 415348"/>
                <a:gd name="connsiteY1" fmla="*/ 103864 h 363146"/>
                <a:gd name="connsiteX2" fmla="*/ 259390 w 415348"/>
                <a:gd name="connsiteY2" fmla="*/ 155526 h 363146"/>
                <a:gd name="connsiteX3" fmla="*/ 207782 w 415348"/>
                <a:gd name="connsiteY3" fmla="*/ 207296 h 363146"/>
                <a:gd name="connsiteX4" fmla="*/ 156175 w 415348"/>
                <a:gd name="connsiteY4" fmla="*/ 155526 h 363146"/>
                <a:gd name="connsiteX5" fmla="*/ 207782 w 415348"/>
                <a:gd name="connsiteY5" fmla="*/ 0 h 363146"/>
                <a:gd name="connsiteX6" fmla="*/ 0 w 415348"/>
                <a:gd name="connsiteY6" fmla="*/ 207350 h 363146"/>
                <a:gd name="connsiteX7" fmla="*/ 51986 w 415348"/>
                <a:gd name="connsiteY7" fmla="*/ 259228 h 363146"/>
                <a:gd name="connsiteX8" fmla="*/ 104134 w 415348"/>
                <a:gd name="connsiteY8" fmla="*/ 207512 h 363146"/>
                <a:gd name="connsiteX9" fmla="*/ 155904 w 415348"/>
                <a:gd name="connsiteY9" fmla="*/ 259499 h 363146"/>
                <a:gd name="connsiteX10" fmla="*/ 103810 w 415348"/>
                <a:gd name="connsiteY10" fmla="*/ 311593 h 363146"/>
                <a:gd name="connsiteX11" fmla="*/ 155904 w 415348"/>
                <a:gd name="connsiteY11" fmla="*/ 363147 h 363146"/>
                <a:gd name="connsiteX12" fmla="*/ 206810 w 415348"/>
                <a:gd name="connsiteY12" fmla="*/ 311431 h 363146"/>
                <a:gd name="connsiteX13" fmla="*/ 259823 w 415348"/>
                <a:gd name="connsiteY13" fmla="*/ 363147 h 363146"/>
                <a:gd name="connsiteX14" fmla="*/ 311485 w 415348"/>
                <a:gd name="connsiteY14" fmla="*/ 311431 h 363146"/>
                <a:gd name="connsiteX15" fmla="*/ 259823 w 415348"/>
                <a:gd name="connsiteY15" fmla="*/ 259769 h 363146"/>
                <a:gd name="connsiteX16" fmla="*/ 312025 w 415348"/>
                <a:gd name="connsiteY16" fmla="*/ 207512 h 363146"/>
                <a:gd name="connsiteX17" fmla="*/ 363633 w 415348"/>
                <a:gd name="connsiteY17" fmla="*/ 259228 h 363146"/>
                <a:gd name="connsiteX18" fmla="*/ 415349 w 415348"/>
                <a:gd name="connsiteY18" fmla="*/ 207512 h 363146"/>
                <a:gd name="connsiteX19" fmla="*/ 207782 w 415348"/>
                <a:gd name="connsiteY19" fmla="*/ 0 h 3631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415348" h="363146">
                  <a:moveTo>
                    <a:pt x="156175" y="155526"/>
                  </a:moveTo>
                  <a:lnTo>
                    <a:pt x="207782" y="103864"/>
                  </a:lnTo>
                  <a:lnTo>
                    <a:pt x="259390" y="155526"/>
                  </a:lnTo>
                  <a:lnTo>
                    <a:pt x="207782" y="207296"/>
                  </a:lnTo>
                  <a:lnTo>
                    <a:pt x="156175" y="155526"/>
                  </a:lnTo>
                  <a:close/>
                  <a:moveTo>
                    <a:pt x="207782" y="0"/>
                  </a:moveTo>
                  <a:lnTo>
                    <a:pt x="0" y="207350"/>
                  </a:lnTo>
                  <a:lnTo>
                    <a:pt x="51986" y="259228"/>
                  </a:lnTo>
                  <a:lnTo>
                    <a:pt x="104134" y="207512"/>
                  </a:lnTo>
                  <a:lnTo>
                    <a:pt x="155904" y="259499"/>
                  </a:lnTo>
                  <a:lnTo>
                    <a:pt x="103810" y="311593"/>
                  </a:lnTo>
                  <a:lnTo>
                    <a:pt x="155904" y="363147"/>
                  </a:lnTo>
                  <a:lnTo>
                    <a:pt x="206810" y="311431"/>
                  </a:lnTo>
                  <a:lnTo>
                    <a:pt x="259823" y="363147"/>
                  </a:lnTo>
                  <a:lnTo>
                    <a:pt x="311485" y="311431"/>
                  </a:lnTo>
                  <a:lnTo>
                    <a:pt x="259823" y="259769"/>
                  </a:lnTo>
                  <a:lnTo>
                    <a:pt x="312025" y="207512"/>
                  </a:lnTo>
                  <a:lnTo>
                    <a:pt x="363633" y="259228"/>
                  </a:lnTo>
                  <a:lnTo>
                    <a:pt x="415349" y="207512"/>
                  </a:lnTo>
                  <a:lnTo>
                    <a:pt x="207782" y="0"/>
                  </a:lnTo>
                  <a:close/>
                </a:path>
              </a:pathLst>
            </a:custGeom>
            <a:solidFill>
              <a:schemeClr val="accent2"/>
            </a:solidFill>
            <a:ln w="538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07848EE5-4927-B646-F0A3-D86C20D6C0A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81001" y="2991585"/>
            <a:ext cx="5868065" cy="430887"/>
          </a:xfrm>
        </p:spPr>
        <p:txBody>
          <a:bodyPr wrap="square" anchor="t">
            <a:spAutoFit/>
          </a:bodyPr>
          <a:lstStyle>
            <a:lvl1pPr>
              <a:defRPr sz="2800">
                <a:solidFill>
                  <a:schemeClr val="accent2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Please insert a </a:t>
            </a:r>
            <a:r>
              <a:rPr lang="en-US" dirty="0" err="1"/>
              <a:t>Subheadline</a:t>
            </a:r>
            <a:endParaRPr lang="en-US" dirty="0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205DEA34-11DA-DDDC-A148-9FF11F3A5A9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481001" y="2160588"/>
            <a:ext cx="5868065" cy="830997"/>
          </a:xfrm>
        </p:spPr>
        <p:txBody>
          <a:bodyPr wrap="square" anchor="b">
            <a:spAutoFit/>
          </a:bodyPr>
          <a:lstStyle>
            <a:lvl1pPr>
              <a:defRPr sz="5400" b="1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Thank you!</a:t>
            </a: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43ECE5AC-E1D5-54E6-0C6B-6999C3FC13D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white">
          <a:xfrm>
            <a:off x="8064500" y="3422472"/>
            <a:ext cx="3587751" cy="262272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First name Last name</a:t>
            </a:r>
            <a:br>
              <a:rPr lang="en-US" dirty="0"/>
            </a:br>
            <a:r>
              <a:rPr lang="en-US" dirty="0"/>
              <a:t>Job title</a:t>
            </a:r>
            <a:br>
              <a:rPr lang="en-US" dirty="0"/>
            </a:br>
            <a:r>
              <a:rPr lang="en-US" dirty="0"/>
              <a:t>Group / Region / Department XY </a:t>
            </a:r>
            <a:br>
              <a:rPr lang="en-US" dirty="0"/>
            </a:br>
            <a:r>
              <a:rPr lang="en-US" dirty="0"/>
              <a:t>Street 123, 12345 City</a:t>
            </a:r>
            <a:br>
              <a:rPr lang="en-US" dirty="0"/>
            </a:br>
            <a:r>
              <a:rPr lang="en-US" dirty="0"/>
              <a:t>Country</a:t>
            </a:r>
            <a:br>
              <a:rPr lang="en-US" dirty="0"/>
            </a:br>
            <a:r>
              <a:rPr lang="en-US" dirty="0"/>
              <a:t>Phone: +49 123 45 67 89</a:t>
            </a:r>
            <a:br>
              <a:rPr lang="en-US" dirty="0"/>
            </a:br>
            <a:r>
              <a:rPr lang="en-US" dirty="0"/>
              <a:t>Mobile: +49 123 45 67 89 0</a:t>
            </a:r>
            <a:br>
              <a:rPr lang="en-US" dirty="0"/>
            </a:br>
            <a:r>
              <a:rPr lang="en-US" dirty="0"/>
              <a:t>Web: Al-Futtaim.com</a:t>
            </a:r>
            <a:br>
              <a:rPr lang="en-US" dirty="0"/>
            </a:br>
            <a:r>
              <a:rPr lang="en-US" dirty="0"/>
              <a:t>E-mail: firstname.lastname@Al-Futtaim.com</a:t>
            </a:r>
          </a:p>
        </p:txBody>
      </p:sp>
    </p:spTree>
    <p:extLst>
      <p:ext uri="{BB962C8B-B14F-4D97-AF65-F5344CB8AC3E}">
        <p14:creationId xmlns:p14="http://schemas.microsoft.com/office/powerpoint/2010/main" val="330922595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1" userDrawn="1">
          <p15:clr>
            <a:srgbClr val="FBAE40"/>
          </p15:clr>
        </p15:guide>
        <p15:guide id="2" orient="horz" pos="1361" userDrawn="1">
          <p15:clr>
            <a:srgbClr val="FBAE40"/>
          </p15:clr>
        </p15:guide>
        <p15:guide id="3" pos="4852" userDrawn="1">
          <p15:clr>
            <a:srgbClr val="FBAE40"/>
          </p15:clr>
        </p15:guide>
        <p15:guide id="4" pos="5080" userDrawn="1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 and contact_l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70B7E7AC-F61D-BAAD-21A2-FF6105310ED7}"/>
              </a:ext>
            </a:extLst>
          </p:cNvPr>
          <p:cNvSpPr>
            <a:spLocks/>
          </p:cNvSpPr>
          <p:nvPr userDrawn="1"/>
        </p:nvSpPr>
        <p:spPr>
          <a:xfrm>
            <a:off x="7709066" y="0"/>
            <a:ext cx="4482934" cy="6858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BABAA35-1304-A3EC-A9C3-854E14C4664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481001" y="6463427"/>
            <a:ext cx="5868065" cy="123111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Al-Futtaim Template 2025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07848EE5-4927-B646-F0A3-D86C20D6C0A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81001" y="2991585"/>
            <a:ext cx="5868065" cy="430887"/>
          </a:xfrm>
        </p:spPr>
        <p:txBody>
          <a:bodyPr wrap="square" anchor="t">
            <a:spAutoFit/>
          </a:bodyPr>
          <a:lstStyle>
            <a:lvl1pPr>
              <a:defRPr sz="2800">
                <a:solidFill>
                  <a:schemeClr val="accent2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Please insert a </a:t>
            </a:r>
            <a:r>
              <a:rPr lang="en-US" dirty="0" err="1"/>
              <a:t>Subheadline</a:t>
            </a:r>
            <a:endParaRPr lang="en-US" dirty="0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205DEA34-11DA-DDDC-A148-9FF11F3A5A9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481001" y="2160588"/>
            <a:ext cx="5868065" cy="830997"/>
          </a:xfrm>
        </p:spPr>
        <p:txBody>
          <a:bodyPr wrap="square" anchor="b">
            <a:spAutoFit/>
          </a:bodyPr>
          <a:lstStyle>
            <a:lvl1pPr>
              <a:defRPr sz="5400" b="1">
                <a:solidFill>
                  <a:schemeClr val="tx2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Thank you!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41F4CB8E-5DE9-089C-9A08-DA75CE75D5AD}"/>
              </a:ext>
            </a:extLst>
          </p:cNvPr>
          <p:cNvGrpSpPr/>
          <p:nvPr userDrawn="1"/>
        </p:nvGrpSpPr>
        <p:grpSpPr>
          <a:xfrm>
            <a:off x="9951588" y="538699"/>
            <a:ext cx="1704301" cy="363146"/>
            <a:chOff x="9951588" y="538699"/>
            <a:chExt cx="1704301" cy="363146"/>
          </a:xfrm>
        </p:grpSpPr>
        <p:sp>
          <p:nvSpPr>
            <p:cNvPr id="4" name="Freeform: Shape 3">
              <a:extLst>
                <a:ext uri="{FF2B5EF4-FFF2-40B4-BE49-F238E27FC236}">
                  <a16:creationId xmlns:a16="http://schemas.microsoft.com/office/drawing/2014/main" id="{9FA34CD5-5FE5-EB73-EC58-D315B6E14E3F}"/>
                </a:ext>
              </a:extLst>
            </p:cNvPr>
            <p:cNvSpPr/>
            <p:nvPr/>
          </p:nvSpPr>
          <p:spPr>
            <a:xfrm>
              <a:off x="10470746" y="642617"/>
              <a:ext cx="1185143" cy="207458"/>
            </a:xfrm>
            <a:custGeom>
              <a:avLst/>
              <a:gdLst>
                <a:gd name="connsiteX0" fmla="*/ 259606 w 1185143"/>
                <a:gd name="connsiteY0" fmla="*/ 138234 h 207458"/>
                <a:gd name="connsiteX1" fmla="*/ 311539 w 1185143"/>
                <a:gd name="connsiteY1" fmla="*/ 138234 h 207458"/>
                <a:gd name="connsiteX2" fmla="*/ 311539 w 1185143"/>
                <a:gd name="connsiteY2" fmla="*/ 103486 h 207458"/>
                <a:gd name="connsiteX3" fmla="*/ 259606 w 1185143"/>
                <a:gd name="connsiteY3" fmla="*/ 103486 h 207458"/>
                <a:gd name="connsiteX4" fmla="*/ 259606 w 1185143"/>
                <a:gd name="connsiteY4" fmla="*/ 138234 h 207458"/>
                <a:gd name="connsiteX5" fmla="*/ 787196 w 1185143"/>
                <a:gd name="connsiteY5" fmla="*/ 103756 h 207458"/>
                <a:gd name="connsiteX6" fmla="*/ 821943 w 1185143"/>
                <a:gd name="connsiteY6" fmla="*/ 103756 h 207458"/>
                <a:gd name="connsiteX7" fmla="*/ 821943 w 1185143"/>
                <a:gd name="connsiteY7" fmla="*/ 172981 h 207458"/>
                <a:gd name="connsiteX8" fmla="*/ 787196 w 1185143"/>
                <a:gd name="connsiteY8" fmla="*/ 172981 h 207458"/>
                <a:gd name="connsiteX9" fmla="*/ 787196 w 1185143"/>
                <a:gd name="connsiteY9" fmla="*/ 103756 h 207458"/>
                <a:gd name="connsiteX10" fmla="*/ 752718 w 1185143"/>
                <a:gd name="connsiteY10" fmla="*/ 69225 h 207458"/>
                <a:gd name="connsiteX11" fmla="*/ 735318 w 1185143"/>
                <a:gd name="connsiteY11" fmla="*/ 103756 h 207458"/>
                <a:gd name="connsiteX12" fmla="*/ 735318 w 1185143"/>
                <a:gd name="connsiteY12" fmla="*/ 172981 h 207458"/>
                <a:gd name="connsiteX13" fmla="*/ 752718 w 1185143"/>
                <a:gd name="connsiteY13" fmla="*/ 207458 h 207458"/>
                <a:gd name="connsiteX14" fmla="*/ 873821 w 1185143"/>
                <a:gd name="connsiteY14" fmla="*/ 207458 h 207458"/>
                <a:gd name="connsiteX15" fmla="*/ 873821 w 1185143"/>
                <a:gd name="connsiteY15" fmla="*/ 69225 h 207458"/>
                <a:gd name="connsiteX16" fmla="*/ 752718 w 1185143"/>
                <a:gd name="connsiteY16" fmla="*/ 69225 h 207458"/>
                <a:gd name="connsiteX17" fmla="*/ 977577 w 1185143"/>
                <a:gd name="connsiteY17" fmla="*/ 69225 h 207458"/>
                <a:gd name="connsiteX18" fmla="*/ 977577 w 1185143"/>
                <a:gd name="connsiteY18" fmla="*/ 207458 h 207458"/>
                <a:gd name="connsiteX19" fmla="*/ 1029455 w 1185143"/>
                <a:gd name="connsiteY19" fmla="*/ 207458 h 207458"/>
                <a:gd name="connsiteX20" fmla="*/ 1029455 w 1185143"/>
                <a:gd name="connsiteY20" fmla="*/ 103756 h 207458"/>
                <a:gd name="connsiteX21" fmla="*/ 1055394 w 1185143"/>
                <a:gd name="connsiteY21" fmla="*/ 103756 h 207458"/>
                <a:gd name="connsiteX22" fmla="*/ 1055394 w 1185143"/>
                <a:gd name="connsiteY22" fmla="*/ 207458 h 207458"/>
                <a:gd name="connsiteX23" fmla="*/ 1107273 w 1185143"/>
                <a:gd name="connsiteY23" fmla="*/ 207458 h 207458"/>
                <a:gd name="connsiteX24" fmla="*/ 1107273 w 1185143"/>
                <a:gd name="connsiteY24" fmla="*/ 103756 h 207458"/>
                <a:gd name="connsiteX25" fmla="*/ 1133266 w 1185143"/>
                <a:gd name="connsiteY25" fmla="*/ 103756 h 207458"/>
                <a:gd name="connsiteX26" fmla="*/ 1133266 w 1185143"/>
                <a:gd name="connsiteY26" fmla="*/ 207458 h 207458"/>
                <a:gd name="connsiteX27" fmla="*/ 1185144 w 1185143"/>
                <a:gd name="connsiteY27" fmla="*/ 207458 h 207458"/>
                <a:gd name="connsiteX28" fmla="*/ 1185144 w 1185143"/>
                <a:gd name="connsiteY28" fmla="*/ 103756 h 207458"/>
                <a:gd name="connsiteX29" fmla="*/ 1168013 w 1185143"/>
                <a:gd name="connsiteY29" fmla="*/ 69225 h 207458"/>
                <a:gd name="connsiteX30" fmla="*/ 977631 w 1185143"/>
                <a:gd name="connsiteY30" fmla="*/ 69225 h 207458"/>
                <a:gd name="connsiteX31" fmla="*/ 899760 w 1185143"/>
                <a:gd name="connsiteY31" fmla="*/ 207458 h 207458"/>
                <a:gd name="connsiteX32" fmla="*/ 951692 w 1185143"/>
                <a:gd name="connsiteY32" fmla="*/ 207458 h 207458"/>
                <a:gd name="connsiteX33" fmla="*/ 951692 w 1185143"/>
                <a:gd name="connsiteY33" fmla="*/ 69225 h 207458"/>
                <a:gd name="connsiteX34" fmla="*/ 899760 w 1185143"/>
                <a:gd name="connsiteY34" fmla="*/ 69009 h 207458"/>
                <a:gd name="connsiteX35" fmla="*/ 899760 w 1185143"/>
                <a:gd name="connsiteY35" fmla="*/ 207458 h 207458"/>
                <a:gd name="connsiteX36" fmla="*/ 112565 w 1185143"/>
                <a:gd name="connsiteY36" fmla="*/ 34477 h 207458"/>
                <a:gd name="connsiteX37" fmla="*/ 112565 w 1185143"/>
                <a:gd name="connsiteY37" fmla="*/ 103756 h 207458"/>
                <a:gd name="connsiteX38" fmla="*/ 86355 w 1185143"/>
                <a:gd name="connsiteY38" fmla="*/ 103756 h 207458"/>
                <a:gd name="connsiteX39" fmla="*/ 112565 w 1185143"/>
                <a:gd name="connsiteY39" fmla="*/ 34477 h 207458"/>
                <a:gd name="connsiteX40" fmla="*/ 69225 w 1185143"/>
                <a:gd name="connsiteY40" fmla="*/ 0 h 207458"/>
                <a:gd name="connsiteX41" fmla="*/ 0 w 1185143"/>
                <a:gd name="connsiteY41" fmla="*/ 207458 h 207458"/>
                <a:gd name="connsiteX42" fmla="*/ 51878 w 1185143"/>
                <a:gd name="connsiteY42" fmla="*/ 207458 h 207458"/>
                <a:gd name="connsiteX43" fmla="*/ 77817 w 1185143"/>
                <a:gd name="connsiteY43" fmla="*/ 138450 h 207458"/>
                <a:gd name="connsiteX44" fmla="*/ 112565 w 1185143"/>
                <a:gd name="connsiteY44" fmla="*/ 138450 h 207458"/>
                <a:gd name="connsiteX45" fmla="*/ 112565 w 1185143"/>
                <a:gd name="connsiteY45" fmla="*/ 207458 h 207458"/>
                <a:gd name="connsiteX46" fmla="*/ 164443 w 1185143"/>
                <a:gd name="connsiteY46" fmla="*/ 207458 h 207458"/>
                <a:gd name="connsiteX47" fmla="*/ 164443 w 1185143"/>
                <a:gd name="connsiteY47" fmla="*/ 0 h 207458"/>
                <a:gd name="connsiteX48" fmla="*/ 69225 w 1185143"/>
                <a:gd name="connsiteY48" fmla="*/ 0 h 207458"/>
                <a:gd name="connsiteX49" fmla="*/ 190328 w 1185143"/>
                <a:gd name="connsiteY49" fmla="*/ 207458 h 207458"/>
                <a:gd name="connsiteX50" fmla="*/ 242206 w 1185143"/>
                <a:gd name="connsiteY50" fmla="*/ 207458 h 207458"/>
                <a:gd name="connsiteX51" fmla="*/ 242206 w 1185143"/>
                <a:gd name="connsiteY51" fmla="*/ 0 h 207458"/>
                <a:gd name="connsiteX52" fmla="*/ 190328 w 1185143"/>
                <a:gd name="connsiteY52" fmla="*/ 0 h 207458"/>
                <a:gd name="connsiteX53" fmla="*/ 190328 w 1185143"/>
                <a:gd name="connsiteY53" fmla="*/ 207458 h 207458"/>
                <a:gd name="connsiteX54" fmla="*/ 328615 w 1185143"/>
                <a:gd name="connsiteY54" fmla="*/ 0 h 207458"/>
                <a:gd name="connsiteX55" fmla="*/ 328615 w 1185143"/>
                <a:gd name="connsiteY55" fmla="*/ 207458 h 207458"/>
                <a:gd name="connsiteX56" fmla="*/ 380493 w 1185143"/>
                <a:gd name="connsiteY56" fmla="*/ 207458 h 207458"/>
                <a:gd name="connsiteX57" fmla="*/ 380493 w 1185143"/>
                <a:gd name="connsiteY57" fmla="*/ 103756 h 207458"/>
                <a:gd name="connsiteX58" fmla="*/ 415295 w 1185143"/>
                <a:gd name="connsiteY58" fmla="*/ 103756 h 207458"/>
                <a:gd name="connsiteX59" fmla="*/ 415295 w 1185143"/>
                <a:gd name="connsiteY59" fmla="*/ 172981 h 207458"/>
                <a:gd name="connsiteX60" fmla="*/ 432641 w 1185143"/>
                <a:gd name="connsiteY60" fmla="*/ 207458 h 207458"/>
                <a:gd name="connsiteX61" fmla="*/ 553798 w 1185143"/>
                <a:gd name="connsiteY61" fmla="*/ 207458 h 207458"/>
                <a:gd name="connsiteX62" fmla="*/ 553798 w 1185143"/>
                <a:gd name="connsiteY62" fmla="*/ 103756 h 207458"/>
                <a:gd name="connsiteX63" fmla="*/ 579737 w 1185143"/>
                <a:gd name="connsiteY63" fmla="*/ 103756 h 207458"/>
                <a:gd name="connsiteX64" fmla="*/ 579737 w 1185143"/>
                <a:gd name="connsiteY64" fmla="*/ 207458 h 207458"/>
                <a:gd name="connsiteX65" fmla="*/ 631561 w 1185143"/>
                <a:gd name="connsiteY65" fmla="*/ 207458 h 207458"/>
                <a:gd name="connsiteX66" fmla="*/ 631561 w 1185143"/>
                <a:gd name="connsiteY66" fmla="*/ 103756 h 207458"/>
                <a:gd name="connsiteX67" fmla="*/ 657555 w 1185143"/>
                <a:gd name="connsiteY67" fmla="*/ 103756 h 207458"/>
                <a:gd name="connsiteX68" fmla="*/ 657555 w 1185143"/>
                <a:gd name="connsiteY68" fmla="*/ 207458 h 207458"/>
                <a:gd name="connsiteX69" fmla="*/ 709433 w 1185143"/>
                <a:gd name="connsiteY69" fmla="*/ 207458 h 207458"/>
                <a:gd name="connsiteX70" fmla="*/ 709433 w 1185143"/>
                <a:gd name="connsiteY70" fmla="*/ 103756 h 207458"/>
                <a:gd name="connsiteX71" fmla="*/ 735372 w 1185143"/>
                <a:gd name="connsiteY71" fmla="*/ 103756 h 207458"/>
                <a:gd name="connsiteX72" fmla="*/ 735372 w 1185143"/>
                <a:gd name="connsiteY72" fmla="*/ 69225 h 207458"/>
                <a:gd name="connsiteX73" fmla="*/ 709433 w 1185143"/>
                <a:gd name="connsiteY73" fmla="*/ 69225 h 207458"/>
                <a:gd name="connsiteX74" fmla="*/ 709433 w 1185143"/>
                <a:gd name="connsiteY74" fmla="*/ 34477 h 207458"/>
                <a:gd name="connsiteX75" fmla="*/ 657555 w 1185143"/>
                <a:gd name="connsiteY75" fmla="*/ 34477 h 207458"/>
                <a:gd name="connsiteX76" fmla="*/ 657555 w 1185143"/>
                <a:gd name="connsiteY76" fmla="*/ 69225 h 207458"/>
                <a:gd name="connsiteX77" fmla="*/ 631561 w 1185143"/>
                <a:gd name="connsiteY77" fmla="*/ 69225 h 207458"/>
                <a:gd name="connsiteX78" fmla="*/ 631561 w 1185143"/>
                <a:gd name="connsiteY78" fmla="*/ 34477 h 207458"/>
                <a:gd name="connsiteX79" fmla="*/ 579737 w 1185143"/>
                <a:gd name="connsiteY79" fmla="*/ 34477 h 207458"/>
                <a:gd name="connsiteX80" fmla="*/ 579737 w 1185143"/>
                <a:gd name="connsiteY80" fmla="*/ 69225 h 207458"/>
                <a:gd name="connsiteX81" fmla="*/ 501650 w 1185143"/>
                <a:gd name="connsiteY81" fmla="*/ 69225 h 207458"/>
                <a:gd name="connsiteX82" fmla="*/ 501650 w 1185143"/>
                <a:gd name="connsiteY82" fmla="*/ 172927 h 207458"/>
                <a:gd name="connsiteX83" fmla="*/ 467173 w 1185143"/>
                <a:gd name="connsiteY83" fmla="*/ 172927 h 207458"/>
                <a:gd name="connsiteX84" fmla="*/ 467173 w 1185143"/>
                <a:gd name="connsiteY84" fmla="*/ 69225 h 207458"/>
                <a:gd name="connsiteX85" fmla="*/ 380547 w 1185143"/>
                <a:gd name="connsiteY85" fmla="*/ 69225 h 207458"/>
                <a:gd name="connsiteX86" fmla="*/ 380547 w 1185143"/>
                <a:gd name="connsiteY86" fmla="*/ 34477 h 207458"/>
                <a:gd name="connsiteX87" fmla="*/ 467173 w 1185143"/>
                <a:gd name="connsiteY87" fmla="*/ 34477 h 207458"/>
                <a:gd name="connsiteX88" fmla="*/ 467173 w 1185143"/>
                <a:gd name="connsiteY88" fmla="*/ 0 h 207458"/>
                <a:gd name="connsiteX89" fmla="*/ 328669 w 1185143"/>
                <a:gd name="connsiteY89" fmla="*/ 0 h 207458"/>
                <a:gd name="connsiteX90" fmla="*/ 899760 w 1185143"/>
                <a:gd name="connsiteY90" fmla="*/ 34477 h 207458"/>
                <a:gd name="connsiteX91" fmla="*/ 951692 w 1185143"/>
                <a:gd name="connsiteY91" fmla="*/ 34477 h 207458"/>
                <a:gd name="connsiteX92" fmla="*/ 951692 w 1185143"/>
                <a:gd name="connsiteY92" fmla="*/ 0 h 207458"/>
                <a:gd name="connsiteX93" fmla="*/ 899760 w 1185143"/>
                <a:gd name="connsiteY93" fmla="*/ 0 h 207458"/>
                <a:gd name="connsiteX94" fmla="*/ 899760 w 1185143"/>
                <a:gd name="connsiteY94" fmla="*/ 34477 h 2074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</a:cxnLst>
              <a:rect l="l" t="t" r="r" b="b"/>
              <a:pathLst>
                <a:path w="1185143" h="207458">
                  <a:moveTo>
                    <a:pt x="259606" y="138234"/>
                  </a:moveTo>
                  <a:lnTo>
                    <a:pt x="311539" y="138234"/>
                  </a:lnTo>
                  <a:lnTo>
                    <a:pt x="311539" y="103486"/>
                  </a:lnTo>
                  <a:lnTo>
                    <a:pt x="259606" y="103486"/>
                  </a:lnTo>
                  <a:lnTo>
                    <a:pt x="259606" y="138234"/>
                  </a:lnTo>
                  <a:close/>
                  <a:moveTo>
                    <a:pt x="787196" y="103756"/>
                  </a:moveTo>
                  <a:lnTo>
                    <a:pt x="821943" y="103756"/>
                  </a:lnTo>
                  <a:lnTo>
                    <a:pt x="821943" y="172981"/>
                  </a:lnTo>
                  <a:lnTo>
                    <a:pt x="787196" y="172981"/>
                  </a:lnTo>
                  <a:lnTo>
                    <a:pt x="787196" y="103756"/>
                  </a:lnTo>
                  <a:close/>
                  <a:moveTo>
                    <a:pt x="752718" y="69225"/>
                  </a:moveTo>
                  <a:lnTo>
                    <a:pt x="735318" y="103756"/>
                  </a:lnTo>
                  <a:lnTo>
                    <a:pt x="735318" y="172981"/>
                  </a:lnTo>
                  <a:lnTo>
                    <a:pt x="752718" y="207458"/>
                  </a:lnTo>
                  <a:lnTo>
                    <a:pt x="873821" y="207458"/>
                  </a:lnTo>
                  <a:lnTo>
                    <a:pt x="873821" y="69225"/>
                  </a:lnTo>
                  <a:lnTo>
                    <a:pt x="752718" y="69225"/>
                  </a:lnTo>
                  <a:close/>
                  <a:moveTo>
                    <a:pt x="977577" y="69225"/>
                  </a:moveTo>
                  <a:lnTo>
                    <a:pt x="977577" y="207458"/>
                  </a:lnTo>
                  <a:lnTo>
                    <a:pt x="1029455" y="207458"/>
                  </a:lnTo>
                  <a:lnTo>
                    <a:pt x="1029455" y="103756"/>
                  </a:lnTo>
                  <a:lnTo>
                    <a:pt x="1055394" y="103756"/>
                  </a:lnTo>
                  <a:lnTo>
                    <a:pt x="1055394" y="207458"/>
                  </a:lnTo>
                  <a:lnTo>
                    <a:pt x="1107273" y="207458"/>
                  </a:lnTo>
                  <a:lnTo>
                    <a:pt x="1107273" y="103756"/>
                  </a:lnTo>
                  <a:lnTo>
                    <a:pt x="1133266" y="103756"/>
                  </a:lnTo>
                  <a:lnTo>
                    <a:pt x="1133266" y="207458"/>
                  </a:lnTo>
                  <a:lnTo>
                    <a:pt x="1185144" y="207458"/>
                  </a:lnTo>
                  <a:lnTo>
                    <a:pt x="1185144" y="103756"/>
                  </a:lnTo>
                  <a:lnTo>
                    <a:pt x="1168013" y="69225"/>
                  </a:lnTo>
                  <a:lnTo>
                    <a:pt x="977631" y="69225"/>
                  </a:lnTo>
                  <a:close/>
                  <a:moveTo>
                    <a:pt x="899760" y="207458"/>
                  </a:moveTo>
                  <a:lnTo>
                    <a:pt x="951692" y="207458"/>
                  </a:lnTo>
                  <a:lnTo>
                    <a:pt x="951692" y="69225"/>
                  </a:lnTo>
                  <a:lnTo>
                    <a:pt x="899760" y="69009"/>
                  </a:lnTo>
                  <a:lnTo>
                    <a:pt x="899760" y="207458"/>
                  </a:lnTo>
                  <a:close/>
                  <a:moveTo>
                    <a:pt x="112565" y="34477"/>
                  </a:moveTo>
                  <a:lnTo>
                    <a:pt x="112565" y="103756"/>
                  </a:lnTo>
                  <a:lnTo>
                    <a:pt x="86355" y="103756"/>
                  </a:lnTo>
                  <a:lnTo>
                    <a:pt x="112565" y="34477"/>
                  </a:lnTo>
                  <a:close/>
                  <a:moveTo>
                    <a:pt x="69225" y="0"/>
                  </a:moveTo>
                  <a:lnTo>
                    <a:pt x="0" y="207458"/>
                  </a:lnTo>
                  <a:lnTo>
                    <a:pt x="51878" y="207458"/>
                  </a:lnTo>
                  <a:lnTo>
                    <a:pt x="77817" y="138450"/>
                  </a:lnTo>
                  <a:lnTo>
                    <a:pt x="112565" y="138450"/>
                  </a:lnTo>
                  <a:lnTo>
                    <a:pt x="112565" y="207458"/>
                  </a:lnTo>
                  <a:lnTo>
                    <a:pt x="164443" y="207458"/>
                  </a:lnTo>
                  <a:lnTo>
                    <a:pt x="164443" y="0"/>
                  </a:lnTo>
                  <a:lnTo>
                    <a:pt x="69225" y="0"/>
                  </a:lnTo>
                  <a:close/>
                  <a:moveTo>
                    <a:pt x="190328" y="207458"/>
                  </a:moveTo>
                  <a:lnTo>
                    <a:pt x="242206" y="207458"/>
                  </a:lnTo>
                  <a:lnTo>
                    <a:pt x="242206" y="0"/>
                  </a:lnTo>
                  <a:lnTo>
                    <a:pt x="190328" y="0"/>
                  </a:lnTo>
                  <a:lnTo>
                    <a:pt x="190328" y="207458"/>
                  </a:lnTo>
                  <a:close/>
                  <a:moveTo>
                    <a:pt x="328615" y="0"/>
                  </a:moveTo>
                  <a:lnTo>
                    <a:pt x="328615" y="207458"/>
                  </a:lnTo>
                  <a:lnTo>
                    <a:pt x="380493" y="207458"/>
                  </a:lnTo>
                  <a:lnTo>
                    <a:pt x="380493" y="103756"/>
                  </a:lnTo>
                  <a:lnTo>
                    <a:pt x="415295" y="103756"/>
                  </a:lnTo>
                  <a:lnTo>
                    <a:pt x="415295" y="172981"/>
                  </a:lnTo>
                  <a:lnTo>
                    <a:pt x="432641" y="207458"/>
                  </a:lnTo>
                  <a:lnTo>
                    <a:pt x="553798" y="207458"/>
                  </a:lnTo>
                  <a:lnTo>
                    <a:pt x="553798" y="103756"/>
                  </a:lnTo>
                  <a:lnTo>
                    <a:pt x="579737" y="103756"/>
                  </a:lnTo>
                  <a:lnTo>
                    <a:pt x="579737" y="207458"/>
                  </a:lnTo>
                  <a:lnTo>
                    <a:pt x="631561" y="207458"/>
                  </a:lnTo>
                  <a:lnTo>
                    <a:pt x="631561" y="103756"/>
                  </a:lnTo>
                  <a:lnTo>
                    <a:pt x="657555" y="103756"/>
                  </a:lnTo>
                  <a:lnTo>
                    <a:pt x="657555" y="207458"/>
                  </a:lnTo>
                  <a:lnTo>
                    <a:pt x="709433" y="207458"/>
                  </a:lnTo>
                  <a:lnTo>
                    <a:pt x="709433" y="103756"/>
                  </a:lnTo>
                  <a:lnTo>
                    <a:pt x="735372" y="103756"/>
                  </a:lnTo>
                  <a:lnTo>
                    <a:pt x="735372" y="69225"/>
                  </a:lnTo>
                  <a:lnTo>
                    <a:pt x="709433" y="69225"/>
                  </a:lnTo>
                  <a:lnTo>
                    <a:pt x="709433" y="34477"/>
                  </a:lnTo>
                  <a:lnTo>
                    <a:pt x="657555" y="34477"/>
                  </a:lnTo>
                  <a:lnTo>
                    <a:pt x="657555" y="69225"/>
                  </a:lnTo>
                  <a:lnTo>
                    <a:pt x="631561" y="69225"/>
                  </a:lnTo>
                  <a:lnTo>
                    <a:pt x="631561" y="34477"/>
                  </a:lnTo>
                  <a:lnTo>
                    <a:pt x="579737" y="34477"/>
                  </a:lnTo>
                  <a:lnTo>
                    <a:pt x="579737" y="69225"/>
                  </a:lnTo>
                  <a:lnTo>
                    <a:pt x="501650" y="69225"/>
                  </a:lnTo>
                  <a:lnTo>
                    <a:pt x="501650" y="172927"/>
                  </a:lnTo>
                  <a:lnTo>
                    <a:pt x="467173" y="172927"/>
                  </a:lnTo>
                  <a:lnTo>
                    <a:pt x="467173" y="69225"/>
                  </a:lnTo>
                  <a:lnTo>
                    <a:pt x="380547" y="69225"/>
                  </a:lnTo>
                  <a:lnTo>
                    <a:pt x="380547" y="34477"/>
                  </a:lnTo>
                  <a:lnTo>
                    <a:pt x="467173" y="34477"/>
                  </a:lnTo>
                  <a:lnTo>
                    <a:pt x="467173" y="0"/>
                  </a:lnTo>
                  <a:lnTo>
                    <a:pt x="328669" y="0"/>
                  </a:lnTo>
                  <a:close/>
                  <a:moveTo>
                    <a:pt x="899760" y="34477"/>
                  </a:moveTo>
                  <a:lnTo>
                    <a:pt x="951692" y="34477"/>
                  </a:lnTo>
                  <a:lnTo>
                    <a:pt x="951692" y="0"/>
                  </a:lnTo>
                  <a:lnTo>
                    <a:pt x="899760" y="0"/>
                  </a:lnTo>
                  <a:lnTo>
                    <a:pt x="899760" y="34477"/>
                  </a:lnTo>
                  <a:close/>
                </a:path>
              </a:pathLst>
            </a:custGeom>
            <a:solidFill>
              <a:srgbClr val="004F9F"/>
            </a:solidFill>
            <a:ln w="538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" name="Freeform: Shape 4">
              <a:extLst>
                <a:ext uri="{FF2B5EF4-FFF2-40B4-BE49-F238E27FC236}">
                  <a16:creationId xmlns:a16="http://schemas.microsoft.com/office/drawing/2014/main" id="{35E918FF-2F14-E241-8D2D-C551F3E19631}"/>
                </a:ext>
              </a:extLst>
            </p:cNvPr>
            <p:cNvSpPr/>
            <p:nvPr/>
          </p:nvSpPr>
          <p:spPr>
            <a:xfrm>
              <a:off x="9951588" y="538699"/>
              <a:ext cx="415348" cy="363146"/>
            </a:xfrm>
            <a:custGeom>
              <a:avLst/>
              <a:gdLst>
                <a:gd name="connsiteX0" fmla="*/ 156175 w 415348"/>
                <a:gd name="connsiteY0" fmla="*/ 155526 h 363146"/>
                <a:gd name="connsiteX1" fmla="*/ 207782 w 415348"/>
                <a:gd name="connsiteY1" fmla="*/ 103864 h 363146"/>
                <a:gd name="connsiteX2" fmla="*/ 259390 w 415348"/>
                <a:gd name="connsiteY2" fmla="*/ 155526 h 363146"/>
                <a:gd name="connsiteX3" fmla="*/ 207782 w 415348"/>
                <a:gd name="connsiteY3" fmla="*/ 207296 h 363146"/>
                <a:gd name="connsiteX4" fmla="*/ 156175 w 415348"/>
                <a:gd name="connsiteY4" fmla="*/ 155526 h 363146"/>
                <a:gd name="connsiteX5" fmla="*/ 207782 w 415348"/>
                <a:gd name="connsiteY5" fmla="*/ 0 h 363146"/>
                <a:gd name="connsiteX6" fmla="*/ 0 w 415348"/>
                <a:gd name="connsiteY6" fmla="*/ 207350 h 363146"/>
                <a:gd name="connsiteX7" fmla="*/ 51986 w 415348"/>
                <a:gd name="connsiteY7" fmla="*/ 259228 h 363146"/>
                <a:gd name="connsiteX8" fmla="*/ 104134 w 415348"/>
                <a:gd name="connsiteY8" fmla="*/ 207512 h 363146"/>
                <a:gd name="connsiteX9" fmla="*/ 155904 w 415348"/>
                <a:gd name="connsiteY9" fmla="*/ 259499 h 363146"/>
                <a:gd name="connsiteX10" fmla="*/ 103810 w 415348"/>
                <a:gd name="connsiteY10" fmla="*/ 311593 h 363146"/>
                <a:gd name="connsiteX11" fmla="*/ 155904 w 415348"/>
                <a:gd name="connsiteY11" fmla="*/ 363147 h 363146"/>
                <a:gd name="connsiteX12" fmla="*/ 206810 w 415348"/>
                <a:gd name="connsiteY12" fmla="*/ 311431 h 363146"/>
                <a:gd name="connsiteX13" fmla="*/ 259823 w 415348"/>
                <a:gd name="connsiteY13" fmla="*/ 363147 h 363146"/>
                <a:gd name="connsiteX14" fmla="*/ 311485 w 415348"/>
                <a:gd name="connsiteY14" fmla="*/ 311431 h 363146"/>
                <a:gd name="connsiteX15" fmla="*/ 259823 w 415348"/>
                <a:gd name="connsiteY15" fmla="*/ 259769 h 363146"/>
                <a:gd name="connsiteX16" fmla="*/ 312025 w 415348"/>
                <a:gd name="connsiteY16" fmla="*/ 207512 h 363146"/>
                <a:gd name="connsiteX17" fmla="*/ 363633 w 415348"/>
                <a:gd name="connsiteY17" fmla="*/ 259228 h 363146"/>
                <a:gd name="connsiteX18" fmla="*/ 415349 w 415348"/>
                <a:gd name="connsiteY18" fmla="*/ 207512 h 363146"/>
                <a:gd name="connsiteX19" fmla="*/ 207782 w 415348"/>
                <a:gd name="connsiteY19" fmla="*/ 0 h 3631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415348" h="363146">
                  <a:moveTo>
                    <a:pt x="156175" y="155526"/>
                  </a:moveTo>
                  <a:lnTo>
                    <a:pt x="207782" y="103864"/>
                  </a:lnTo>
                  <a:lnTo>
                    <a:pt x="259390" y="155526"/>
                  </a:lnTo>
                  <a:lnTo>
                    <a:pt x="207782" y="207296"/>
                  </a:lnTo>
                  <a:lnTo>
                    <a:pt x="156175" y="155526"/>
                  </a:lnTo>
                  <a:close/>
                  <a:moveTo>
                    <a:pt x="207782" y="0"/>
                  </a:moveTo>
                  <a:lnTo>
                    <a:pt x="0" y="207350"/>
                  </a:lnTo>
                  <a:lnTo>
                    <a:pt x="51986" y="259228"/>
                  </a:lnTo>
                  <a:lnTo>
                    <a:pt x="104134" y="207512"/>
                  </a:lnTo>
                  <a:lnTo>
                    <a:pt x="155904" y="259499"/>
                  </a:lnTo>
                  <a:lnTo>
                    <a:pt x="103810" y="311593"/>
                  </a:lnTo>
                  <a:lnTo>
                    <a:pt x="155904" y="363147"/>
                  </a:lnTo>
                  <a:lnTo>
                    <a:pt x="206810" y="311431"/>
                  </a:lnTo>
                  <a:lnTo>
                    <a:pt x="259823" y="363147"/>
                  </a:lnTo>
                  <a:lnTo>
                    <a:pt x="311485" y="311431"/>
                  </a:lnTo>
                  <a:lnTo>
                    <a:pt x="259823" y="259769"/>
                  </a:lnTo>
                  <a:lnTo>
                    <a:pt x="312025" y="207512"/>
                  </a:lnTo>
                  <a:lnTo>
                    <a:pt x="363633" y="259228"/>
                  </a:lnTo>
                  <a:lnTo>
                    <a:pt x="415349" y="207512"/>
                  </a:lnTo>
                  <a:lnTo>
                    <a:pt x="207782" y="0"/>
                  </a:lnTo>
                  <a:close/>
                </a:path>
              </a:pathLst>
            </a:custGeom>
            <a:solidFill>
              <a:schemeClr val="accent2"/>
            </a:solidFill>
            <a:ln w="538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9889EB29-6E0E-9C3E-3959-D63C68AA690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064500" y="3422472"/>
            <a:ext cx="3587751" cy="2622728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First name Last name</a:t>
            </a:r>
            <a:br>
              <a:rPr lang="en-US" dirty="0"/>
            </a:br>
            <a:r>
              <a:rPr lang="en-US" dirty="0"/>
              <a:t>Job title</a:t>
            </a:r>
            <a:br>
              <a:rPr lang="en-US" dirty="0"/>
            </a:br>
            <a:r>
              <a:rPr lang="en-US" dirty="0"/>
              <a:t>Group / Region / Department XY </a:t>
            </a:r>
            <a:br>
              <a:rPr lang="en-US" dirty="0"/>
            </a:br>
            <a:r>
              <a:rPr lang="en-US" dirty="0"/>
              <a:t>Street 123, 12345 City</a:t>
            </a:r>
            <a:br>
              <a:rPr lang="en-US" dirty="0"/>
            </a:br>
            <a:r>
              <a:rPr lang="en-US" dirty="0"/>
              <a:t>Country</a:t>
            </a:r>
            <a:br>
              <a:rPr lang="en-US" dirty="0"/>
            </a:br>
            <a:r>
              <a:rPr lang="en-US" dirty="0"/>
              <a:t>Phone: +49 123 45 67 89</a:t>
            </a:r>
            <a:br>
              <a:rPr lang="en-US" dirty="0"/>
            </a:br>
            <a:r>
              <a:rPr lang="en-US" dirty="0"/>
              <a:t>Mobile: +49 123 45 67 89 0</a:t>
            </a:r>
            <a:br>
              <a:rPr lang="en-US" dirty="0"/>
            </a:br>
            <a:r>
              <a:rPr lang="en-US" dirty="0"/>
              <a:t>Web: Al-Futtaim.com</a:t>
            </a:r>
            <a:br>
              <a:rPr lang="en-US" dirty="0"/>
            </a:br>
            <a:r>
              <a:rPr lang="en-US" dirty="0"/>
              <a:t>E-mail: firstname.lastname@Al-Futtaim.com</a:t>
            </a:r>
          </a:p>
        </p:txBody>
      </p:sp>
    </p:spTree>
    <p:extLst>
      <p:ext uri="{BB962C8B-B14F-4D97-AF65-F5344CB8AC3E}">
        <p14:creationId xmlns:p14="http://schemas.microsoft.com/office/powerpoint/2010/main" val="39469754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1" userDrawn="1">
          <p15:clr>
            <a:srgbClr val="FBAE40"/>
          </p15:clr>
        </p15:guide>
        <p15:guide id="2" orient="horz" pos="1361" userDrawn="1">
          <p15:clr>
            <a:srgbClr val="FBAE40"/>
          </p15:clr>
        </p15:guide>
        <p15:guide id="3" pos="4852" userDrawn="1">
          <p15:clr>
            <a:srgbClr val="FBAE40"/>
          </p15:clr>
        </p15:guide>
        <p15:guide id="4" pos="5080" userDrawn="1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9716AE16-79F0-4139-BB59-5C393A9379C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コンテンツ プレースホルダー 2">
            <a:extLst>
              <a:ext uri="{FF2B5EF4-FFF2-40B4-BE49-F238E27FC236}">
                <a16:creationId xmlns:a16="http://schemas.microsoft.com/office/drawing/2014/main" id="{C4F21E1C-868B-415C-9F6A-B37EDAC8519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4" name="日付プレースホルダー 3">
            <a:extLst>
              <a:ext uri="{FF2B5EF4-FFF2-40B4-BE49-F238E27FC236}">
                <a16:creationId xmlns:a16="http://schemas.microsoft.com/office/drawing/2014/main" id="{0AB7D844-DE23-4090-A9C2-329AE78BF52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7D77C61-80C7-4ACF-8261-858386295CF1}" type="datetimeFigureOut">
              <a:rPr kumimoji="1" lang="ja-JP" altLang="en-US" smtClean="0"/>
              <a:t>2025/8/21</a:t>
            </a:fld>
            <a:endParaRPr kumimoji="1" lang="ja-JP" altLang="en-US"/>
          </a:p>
        </p:txBody>
      </p:sp>
      <p:sp>
        <p:nvSpPr>
          <p:cNvPr id="5" name="フッター プレースホルダー 4">
            <a:extLst>
              <a:ext uri="{FF2B5EF4-FFF2-40B4-BE49-F238E27FC236}">
                <a16:creationId xmlns:a16="http://schemas.microsoft.com/office/drawing/2014/main" id="{A16FE231-8041-4BE4-95C7-4F177191965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スライド番号プレースホルダー 5">
            <a:extLst>
              <a:ext uri="{FF2B5EF4-FFF2-40B4-BE49-F238E27FC236}">
                <a16:creationId xmlns:a16="http://schemas.microsoft.com/office/drawing/2014/main" id="{1A6CB79D-FEC6-41E7-9092-4218F90E3F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864B43E-490A-459B-9674-6DB1F312E6C1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359543940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61" hidden="1">
            <a:extLst>
              <a:ext uri="{FF2B5EF4-FFF2-40B4-BE49-F238E27FC236}">
                <a16:creationId xmlns:a16="http://schemas.microsoft.com/office/drawing/2014/main" id="{AA1E6CCA-9B71-415B-9A84-925935E1E39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621" y="1621"/>
          <a:ext cx="3240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4" name="Object 61" hidden="1">
                        <a:extLst>
                          <a:ext uri="{FF2B5EF4-FFF2-40B4-BE49-F238E27FC236}">
                            <a16:creationId xmlns:a16="http://schemas.microsoft.com/office/drawing/2014/main" id="{AA1E6CCA-9B71-415B-9A84-925935E1E39C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21" y="1621"/>
                        <a:ext cx="3240" cy="1619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Working Draft Text" hidden="1">
            <a:extLst>
              <a:ext uri="{FF2B5EF4-FFF2-40B4-BE49-F238E27FC236}">
                <a16:creationId xmlns:a16="http://schemas.microsoft.com/office/drawing/2014/main" id="{859FF301-76B8-4DCA-ABAE-54C1B0FE2D94}"/>
              </a:ext>
            </a:extLst>
          </p:cNvPr>
          <p:cNvSpPr txBox="1">
            <a:spLocks noChangeArrowheads="1"/>
          </p:cNvSpPr>
          <p:nvPr/>
        </p:nvSpPr>
        <p:spPr bwMode="black">
          <a:xfrm>
            <a:off x="489171" y="323950"/>
            <a:ext cx="3795119" cy="128097"/>
          </a:xfrm>
          <a:prstGeom prst="rect">
            <a:avLst/>
          </a:prstGeom>
          <a:noFill/>
          <a:ln>
            <a:noFill/>
          </a:ln>
          <a:effectLst/>
        </p:spPr>
        <p:txBody>
          <a:bodyPr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sz="816" b="1">
                <a:solidFill>
                  <a:srgbClr val="FFFFFF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 hidden="1">
            <a:extLst>
              <a:ext uri="{FF2B5EF4-FFF2-40B4-BE49-F238E27FC236}">
                <a16:creationId xmlns:a16="http://schemas.microsoft.com/office/drawing/2014/main" id="{E8BE2937-A72C-47DD-BC8C-7F3574FCC19F}"/>
              </a:ext>
            </a:extLst>
          </p:cNvPr>
          <p:cNvSpPr txBox="1">
            <a:spLocks noChangeArrowheads="1"/>
          </p:cNvSpPr>
          <p:nvPr/>
        </p:nvSpPr>
        <p:spPr bwMode="black">
          <a:xfrm>
            <a:off x="489171" y="466487"/>
            <a:ext cx="3795119" cy="126340"/>
          </a:xfrm>
          <a:prstGeom prst="rect">
            <a:avLst/>
          </a:prstGeom>
          <a:noFill/>
          <a:ln>
            <a:noFill/>
          </a:ln>
          <a:effectLst/>
        </p:spPr>
        <p:txBody>
          <a:bodyPr lIns="0" tIns="0" rIns="0" bIns="0"/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en-GB" sz="816">
                <a:solidFill>
                  <a:srgbClr val="FFFFFF"/>
                </a:solidFill>
                <a:latin typeface="+mn-lt"/>
              </a:rPr>
              <a:t>Last Modified 12/08/2020 04:05 Arabian Standard Time</a:t>
            </a:r>
            <a:endParaRPr sz="816">
              <a:solidFill>
                <a:srgbClr val="FFFFFF"/>
              </a:solidFill>
              <a:latin typeface="+mn-lt"/>
            </a:endParaRPr>
          </a:p>
        </p:txBody>
      </p:sp>
      <p:sp>
        <p:nvSpPr>
          <p:cNvPr id="7" name="Printed" hidden="1">
            <a:extLst>
              <a:ext uri="{FF2B5EF4-FFF2-40B4-BE49-F238E27FC236}">
                <a16:creationId xmlns:a16="http://schemas.microsoft.com/office/drawing/2014/main" id="{C518D43E-4FA2-4425-B795-DD08CD9CD5E8}"/>
              </a:ext>
            </a:extLst>
          </p:cNvPr>
          <p:cNvSpPr txBox="1">
            <a:spLocks noChangeArrowheads="1"/>
          </p:cNvSpPr>
          <p:nvPr/>
        </p:nvSpPr>
        <p:spPr bwMode="black">
          <a:xfrm>
            <a:off x="489171" y="610645"/>
            <a:ext cx="3795119" cy="124720"/>
          </a:xfrm>
          <a:prstGeom prst="rect">
            <a:avLst/>
          </a:prstGeom>
          <a:noFill/>
          <a:ln>
            <a:noFill/>
          </a:ln>
          <a:effectLst/>
        </p:spPr>
        <p:txBody>
          <a:bodyPr lIns="0" tIns="0" rIns="0" bIns="0"/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en-GB" sz="816">
                <a:solidFill>
                  <a:srgbClr val="FFFFFF"/>
                </a:solidFill>
                <a:latin typeface="+mn-lt"/>
              </a:rPr>
              <a:t>Printed 25/07/2020 16:01 Arabian Standard Time</a:t>
            </a:r>
            <a:endParaRPr sz="816">
              <a:solidFill>
                <a:srgbClr val="FFFFFF"/>
              </a:solidFill>
              <a:latin typeface="+mn-lt"/>
            </a:endParaRPr>
          </a:p>
        </p:txBody>
      </p:sp>
      <p:sp>
        <p:nvSpPr>
          <p:cNvPr id="8" name="Document type" hidden="1">
            <a:extLst>
              <a:ext uri="{FF2B5EF4-FFF2-40B4-BE49-F238E27FC236}">
                <a16:creationId xmlns:a16="http://schemas.microsoft.com/office/drawing/2014/main" id="{4411D0D7-8C69-4531-B852-88B88E339780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489170" y="6324426"/>
            <a:ext cx="8048632" cy="224203"/>
          </a:xfrm>
          <a:prstGeom prst="rect">
            <a:avLst/>
          </a:prstGeom>
          <a:noFill/>
          <a:ln>
            <a:noFill/>
          </a:ln>
          <a:effectLst/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28">
                <a:latin typeface="+mn-lt"/>
              </a:rPr>
              <a:t>Document type | Date</a:t>
            </a:r>
          </a:p>
        </p:txBody>
      </p:sp>
      <p:pic>
        <p:nvPicPr>
          <p:cNvPr id="9" name="Picture 600" descr="C:\Users\MYTHIL~1\AppData\Local\Temp\notes1FCF23\~b522205.TMP">
            <a:extLst>
              <a:ext uri="{FF2B5EF4-FFF2-40B4-BE49-F238E27FC236}">
                <a16:creationId xmlns:a16="http://schemas.microsoft.com/office/drawing/2014/main" id="{4876F5E9-4D19-4B4B-AC7C-A89DCA57F3F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ltGray">
          <a:xfrm>
            <a:off x="8967040" y="6007634"/>
            <a:ext cx="3027348" cy="6414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doc id">
            <a:extLst>
              <a:ext uri="{FF2B5EF4-FFF2-40B4-BE49-F238E27FC236}">
                <a16:creationId xmlns:a16="http://schemas.microsoft.com/office/drawing/2014/main" id="{54262B50-AA79-42F9-8E03-2E7701CD8861}"/>
              </a:ext>
            </a:extLst>
          </p:cNvPr>
          <p:cNvSpPr txBox="1">
            <a:spLocks noChangeArrowheads="1"/>
          </p:cNvSpPr>
          <p:nvPr/>
        </p:nvSpPr>
        <p:spPr bwMode="white">
          <a:xfrm>
            <a:off x="11487400" y="37255"/>
            <a:ext cx="401703" cy="124720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 lIns="0" tIns="0" rIns="0" bIns="0"/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 lang="x-none"/>
            </a:pPr>
            <a:endParaRPr sz="816">
              <a:solidFill>
                <a:schemeClr val="bg1"/>
              </a:solidFill>
              <a:latin typeface="+mn-lt"/>
            </a:endParaRPr>
          </a:p>
        </p:txBody>
      </p:sp>
      <p:pic>
        <p:nvPicPr>
          <p:cNvPr id="11" name="Picture 111">
            <a:extLst>
              <a:ext uri="{FF2B5EF4-FFF2-40B4-BE49-F238E27FC236}">
                <a16:creationId xmlns:a16="http://schemas.microsoft.com/office/drawing/2014/main" id="{67E247E5-54AD-492D-8E59-73E56A31978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" y="0"/>
            <a:ext cx="12192000" cy="50114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314" name="Title"/>
          <p:cNvSpPr>
            <a:spLocks noGrp="1" noChangeArrowheads="1"/>
          </p:cNvSpPr>
          <p:nvPr>
            <p:ph type="ctrTitle"/>
          </p:nvPr>
        </p:nvSpPr>
        <p:spPr>
          <a:xfrm>
            <a:off x="488407" y="5070731"/>
            <a:ext cx="8050193" cy="502445"/>
          </a:xfrm>
          <a:prstGeom prst="rect">
            <a:avLst/>
          </a:prstGeom>
        </p:spPr>
        <p:txBody>
          <a:bodyPr/>
          <a:lstStyle>
            <a:lvl1pPr>
              <a:defRPr lang="x-none" sz="3265" b="0" baseline="0">
                <a:solidFill>
                  <a:schemeClr val="tx2"/>
                </a:solidFill>
                <a:latin typeface="+mj-lt"/>
                <a:ea typeface="+mj-ea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x-none" noProof="0"/>
          </a:p>
        </p:txBody>
      </p:sp>
      <p:sp>
        <p:nvSpPr>
          <p:cNvPr id="13315" name="Subtitle"/>
          <p:cNvSpPr>
            <a:spLocks noGrp="1" noChangeArrowheads="1"/>
          </p:cNvSpPr>
          <p:nvPr>
            <p:ph type="subTitle" idx="1"/>
          </p:nvPr>
        </p:nvSpPr>
        <p:spPr>
          <a:xfrm>
            <a:off x="488407" y="5840684"/>
            <a:ext cx="8050193" cy="219820"/>
          </a:xfrm>
          <a:prstGeom prst="rect">
            <a:avLst/>
          </a:prstGeom>
        </p:spPr>
        <p:txBody>
          <a:bodyPr/>
          <a:lstStyle>
            <a:lvl1pPr>
              <a:defRPr lang="x-none" sz="1428" cap="none" baseline="0">
                <a:solidFill>
                  <a:schemeClr val="tx1"/>
                </a:solidFill>
                <a:latin typeface="+mn-lt"/>
                <a:ea typeface="+mn-ea"/>
              </a:defRPr>
            </a:lvl1pPr>
          </a:lstStyle>
          <a:p>
            <a:pPr lvl="0"/>
            <a:r>
              <a:rPr lang="en-US" noProof="0"/>
              <a:t>Click to edit Master subtitle style</a:t>
            </a:r>
            <a:endParaRPr lang="x-none" noProof="0"/>
          </a:p>
        </p:txBody>
      </p:sp>
    </p:spTree>
    <p:extLst>
      <p:ext uri="{BB962C8B-B14F-4D97-AF65-F5344CB8AC3E}">
        <p14:creationId xmlns:p14="http://schemas.microsoft.com/office/powerpoint/2010/main" val="103976302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1" hidden="1">
            <a:extLst>
              <a:ext uri="{FF2B5EF4-FFF2-40B4-BE49-F238E27FC236}">
                <a16:creationId xmlns:a16="http://schemas.microsoft.com/office/drawing/2014/main" id="{2DF5B90E-9157-46A6-9F11-100E147B31D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621" y="162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3" name="Object 61" hidden="1">
                        <a:extLst>
                          <a:ext uri="{FF2B5EF4-FFF2-40B4-BE49-F238E27FC236}">
                            <a16:creationId xmlns:a16="http://schemas.microsoft.com/office/drawing/2014/main" id="{2DF5B90E-9157-46A6-9F11-100E147B31DA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21" y="1621"/>
                        <a:ext cx="1619" cy="1619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oc id">
            <a:extLst>
              <a:ext uri="{FF2B5EF4-FFF2-40B4-BE49-F238E27FC236}">
                <a16:creationId xmlns:a16="http://schemas.microsoft.com/office/drawing/2014/main" id="{E580134A-1476-41D1-BF6F-36E9E67E110E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994991" y="51832"/>
            <a:ext cx="894112" cy="1247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defTabSz="89535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89535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89535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89535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89535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 eaLnBrk="1" hangingPunct="1"/>
            <a:endParaRPr lang="en-US" altLang="en-US" sz="816">
              <a:solidFill>
                <a:srgbClr val="808080"/>
              </a:solidFill>
            </a:endParaRPr>
          </a:p>
        </p:txBody>
      </p:sp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r>
              <a:rPr lang="en-US"/>
              <a:t>Click to edit Master title style</a:t>
            </a:r>
            <a:endParaRPr lang="x-none"/>
          </a:p>
        </p:txBody>
      </p:sp>
    </p:spTree>
    <p:extLst>
      <p:ext uri="{BB962C8B-B14F-4D97-AF65-F5344CB8AC3E}">
        <p14:creationId xmlns:p14="http://schemas.microsoft.com/office/powerpoint/2010/main" val="3100314574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1" hidden="1">
            <a:extLst>
              <a:ext uri="{FF2B5EF4-FFF2-40B4-BE49-F238E27FC236}">
                <a16:creationId xmlns:a16="http://schemas.microsoft.com/office/drawing/2014/main" id="{7F4536E7-B0CF-46FC-A490-F064F3EA891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621" y="162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3" name="Object 61" hidden="1">
                        <a:extLst>
                          <a:ext uri="{FF2B5EF4-FFF2-40B4-BE49-F238E27FC236}">
                            <a16:creationId xmlns:a16="http://schemas.microsoft.com/office/drawing/2014/main" id="{7F4536E7-B0CF-46FC-A490-F064F3EA8914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21" y="1621"/>
                        <a:ext cx="1619" cy="1619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62">
            <a:extLst>
              <a:ext uri="{FF2B5EF4-FFF2-40B4-BE49-F238E27FC236}">
                <a16:creationId xmlns:a16="http://schemas.microsoft.com/office/drawing/2014/main" id="{561F7470-B738-4068-BA51-DBE370E4470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196" r="2364" b="5876"/>
          <a:stretch>
            <a:fillRect/>
          </a:stretch>
        </p:blipFill>
        <p:spPr bwMode="ltGray">
          <a:xfrm>
            <a:off x="3240" y="5244223"/>
            <a:ext cx="12188760" cy="12763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doc id">
            <a:extLst>
              <a:ext uri="{FF2B5EF4-FFF2-40B4-BE49-F238E27FC236}">
                <a16:creationId xmlns:a16="http://schemas.microsoft.com/office/drawing/2014/main" id="{D18089CF-11A0-4FD5-8F87-36A18D827BA6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994991" y="51832"/>
            <a:ext cx="894112" cy="1247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defTabSz="89535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89535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89535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89535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89535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 eaLnBrk="1" hangingPunct="1"/>
            <a:endParaRPr lang="en-US" altLang="en-US" sz="816">
              <a:solidFill>
                <a:srgbClr val="808080"/>
              </a:solidFill>
            </a:endParaRPr>
          </a:p>
        </p:txBody>
      </p:sp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r>
              <a:rPr lang="en-US"/>
              <a:t>Click to edit Master title style</a:t>
            </a:r>
            <a:endParaRPr lang="x-none"/>
          </a:p>
        </p:txBody>
      </p:sp>
    </p:spTree>
    <p:extLst>
      <p:ext uri="{BB962C8B-B14F-4D97-AF65-F5344CB8AC3E}">
        <p14:creationId xmlns:p14="http://schemas.microsoft.com/office/powerpoint/2010/main" val="115077193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1" hidden="1">
            <a:extLst>
              <a:ext uri="{FF2B5EF4-FFF2-40B4-BE49-F238E27FC236}">
                <a16:creationId xmlns:a16="http://schemas.microsoft.com/office/drawing/2014/main" id="{52DFB2BE-3264-47B1-AC1A-96868B4D416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621" y="162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3" name="Object 61" hidden="1">
                        <a:extLst>
                          <a:ext uri="{FF2B5EF4-FFF2-40B4-BE49-F238E27FC236}">
                            <a16:creationId xmlns:a16="http://schemas.microsoft.com/office/drawing/2014/main" id="{52DFB2BE-3264-47B1-AC1A-96868B4D416D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21" y="1621"/>
                        <a:ext cx="1619" cy="1619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7574956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Page with image_l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DF0B494-BA15-F2B4-DAD3-A3B2AF6C73B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39748" y="4332800"/>
            <a:ext cx="11112502" cy="498598"/>
          </a:xfrm>
        </p:spPr>
        <p:txBody>
          <a:bodyPr anchor="b">
            <a:spAutoFit/>
          </a:bodyPr>
          <a:lstStyle>
            <a:lvl1pPr algn="l">
              <a:defRPr sz="36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ease insert a Tit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8D95B62-3DC6-BA29-E15A-17D867C811E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39748" y="4831398"/>
            <a:ext cx="11112502" cy="276999"/>
          </a:xfrm>
        </p:spPr>
        <p:txBody>
          <a:bodyPr>
            <a:spAutoFit/>
          </a:bodyPr>
          <a:lstStyle>
            <a:lvl1pPr marL="0" indent="0" algn="l">
              <a:buNone/>
              <a:defRPr sz="1800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Division/Trading Entity Name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5F8D7363-2FCC-9FA4-5689-CD0AE7825CD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39749" y="5858230"/>
            <a:ext cx="5556251" cy="184666"/>
          </a:xfrm>
        </p:spPr>
        <p:txBody>
          <a:bodyPr anchor="b">
            <a:spAutoFit/>
          </a:bodyPr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Date</a:t>
            </a:r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1D383AD4-FE7F-970C-622A-7ECEF38EB699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423465"/>
          </a:xfrm>
          <a:solidFill>
            <a:schemeClr val="accent4"/>
          </a:solidFill>
        </p:spPr>
        <p:txBody>
          <a:bodyPr/>
          <a:lstStyle/>
          <a:p>
            <a:r>
              <a:rPr lang="en-US"/>
              <a:t>Click to insert picture</a:t>
            </a:r>
            <a:endParaRPr lang="en-US" dirty="0"/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AE8A4B62-2CDE-8BDE-A1E0-6E4E632CC8A2}"/>
              </a:ext>
            </a:extLst>
          </p:cNvPr>
          <p:cNvGrpSpPr>
            <a:grpSpLocks/>
          </p:cNvGrpSpPr>
          <p:nvPr userDrawn="1"/>
        </p:nvGrpSpPr>
        <p:grpSpPr>
          <a:xfrm>
            <a:off x="539261" y="3700464"/>
            <a:ext cx="1704301" cy="363146"/>
            <a:chOff x="9951588" y="538699"/>
            <a:chExt cx="1704301" cy="363146"/>
          </a:xfrm>
        </p:grpSpPr>
        <p:sp>
          <p:nvSpPr>
            <p:cNvPr id="8" name="Freeform: Shape 7">
              <a:extLst>
                <a:ext uri="{FF2B5EF4-FFF2-40B4-BE49-F238E27FC236}">
                  <a16:creationId xmlns:a16="http://schemas.microsoft.com/office/drawing/2014/main" id="{08BD4D0C-D116-3ACE-3A99-213BA02AA8E7}"/>
                </a:ext>
              </a:extLst>
            </p:cNvPr>
            <p:cNvSpPr/>
            <p:nvPr/>
          </p:nvSpPr>
          <p:spPr>
            <a:xfrm>
              <a:off x="10470746" y="642617"/>
              <a:ext cx="1185143" cy="207458"/>
            </a:xfrm>
            <a:custGeom>
              <a:avLst/>
              <a:gdLst>
                <a:gd name="connsiteX0" fmla="*/ 259606 w 1185143"/>
                <a:gd name="connsiteY0" fmla="*/ 138234 h 207458"/>
                <a:gd name="connsiteX1" fmla="*/ 311539 w 1185143"/>
                <a:gd name="connsiteY1" fmla="*/ 138234 h 207458"/>
                <a:gd name="connsiteX2" fmla="*/ 311539 w 1185143"/>
                <a:gd name="connsiteY2" fmla="*/ 103486 h 207458"/>
                <a:gd name="connsiteX3" fmla="*/ 259606 w 1185143"/>
                <a:gd name="connsiteY3" fmla="*/ 103486 h 207458"/>
                <a:gd name="connsiteX4" fmla="*/ 259606 w 1185143"/>
                <a:gd name="connsiteY4" fmla="*/ 138234 h 207458"/>
                <a:gd name="connsiteX5" fmla="*/ 787196 w 1185143"/>
                <a:gd name="connsiteY5" fmla="*/ 103756 h 207458"/>
                <a:gd name="connsiteX6" fmla="*/ 821943 w 1185143"/>
                <a:gd name="connsiteY6" fmla="*/ 103756 h 207458"/>
                <a:gd name="connsiteX7" fmla="*/ 821943 w 1185143"/>
                <a:gd name="connsiteY7" fmla="*/ 172981 h 207458"/>
                <a:gd name="connsiteX8" fmla="*/ 787196 w 1185143"/>
                <a:gd name="connsiteY8" fmla="*/ 172981 h 207458"/>
                <a:gd name="connsiteX9" fmla="*/ 787196 w 1185143"/>
                <a:gd name="connsiteY9" fmla="*/ 103756 h 207458"/>
                <a:gd name="connsiteX10" fmla="*/ 752718 w 1185143"/>
                <a:gd name="connsiteY10" fmla="*/ 69225 h 207458"/>
                <a:gd name="connsiteX11" fmla="*/ 735318 w 1185143"/>
                <a:gd name="connsiteY11" fmla="*/ 103756 h 207458"/>
                <a:gd name="connsiteX12" fmla="*/ 735318 w 1185143"/>
                <a:gd name="connsiteY12" fmla="*/ 172981 h 207458"/>
                <a:gd name="connsiteX13" fmla="*/ 752718 w 1185143"/>
                <a:gd name="connsiteY13" fmla="*/ 207458 h 207458"/>
                <a:gd name="connsiteX14" fmla="*/ 873821 w 1185143"/>
                <a:gd name="connsiteY14" fmla="*/ 207458 h 207458"/>
                <a:gd name="connsiteX15" fmla="*/ 873821 w 1185143"/>
                <a:gd name="connsiteY15" fmla="*/ 69225 h 207458"/>
                <a:gd name="connsiteX16" fmla="*/ 752718 w 1185143"/>
                <a:gd name="connsiteY16" fmla="*/ 69225 h 207458"/>
                <a:gd name="connsiteX17" fmla="*/ 977577 w 1185143"/>
                <a:gd name="connsiteY17" fmla="*/ 69225 h 207458"/>
                <a:gd name="connsiteX18" fmla="*/ 977577 w 1185143"/>
                <a:gd name="connsiteY18" fmla="*/ 207458 h 207458"/>
                <a:gd name="connsiteX19" fmla="*/ 1029455 w 1185143"/>
                <a:gd name="connsiteY19" fmla="*/ 207458 h 207458"/>
                <a:gd name="connsiteX20" fmla="*/ 1029455 w 1185143"/>
                <a:gd name="connsiteY20" fmla="*/ 103756 h 207458"/>
                <a:gd name="connsiteX21" fmla="*/ 1055394 w 1185143"/>
                <a:gd name="connsiteY21" fmla="*/ 103756 h 207458"/>
                <a:gd name="connsiteX22" fmla="*/ 1055394 w 1185143"/>
                <a:gd name="connsiteY22" fmla="*/ 207458 h 207458"/>
                <a:gd name="connsiteX23" fmla="*/ 1107273 w 1185143"/>
                <a:gd name="connsiteY23" fmla="*/ 207458 h 207458"/>
                <a:gd name="connsiteX24" fmla="*/ 1107273 w 1185143"/>
                <a:gd name="connsiteY24" fmla="*/ 103756 h 207458"/>
                <a:gd name="connsiteX25" fmla="*/ 1133266 w 1185143"/>
                <a:gd name="connsiteY25" fmla="*/ 103756 h 207458"/>
                <a:gd name="connsiteX26" fmla="*/ 1133266 w 1185143"/>
                <a:gd name="connsiteY26" fmla="*/ 207458 h 207458"/>
                <a:gd name="connsiteX27" fmla="*/ 1185144 w 1185143"/>
                <a:gd name="connsiteY27" fmla="*/ 207458 h 207458"/>
                <a:gd name="connsiteX28" fmla="*/ 1185144 w 1185143"/>
                <a:gd name="connsiteY28" fmla="*/ 103756 h 207458"/>
                <a:gd name="connsiteX29" fmla="*/ 1168013 w 1185143"/>
                <a:gd name="connsiteY29" fmla="*/ 69225 h 207458"/>
                <a:gd name="connsiteX30" fmla="*/ 977631 w 1185143"/>
                <a:gd name="connsiteY30" fmla="*/ 69225 h 207458"/>
                <a:gd name="connsiteX31" fmla="*/ 899760 w 1185143"/>
                <a:gd name="connsiteY31" fmla="*/ 207458 h 207458"/>
                <a:gd name="connsiteX32" fmla="*/ 951692 w 1185143"/>
                <a:gd name="connsiteY32" fmla="*/ 207458 h 207458"/>
                <a:gd name="connsiteX33" fmla="*/ 951692 w 1185143"/>
                <a:gd name="connsiteY33" fmla="*/ 69225 h 207458"/>
                <a:gd name="connsiteX34" fmla="*/ 899760 w 1185143"/>
                <a:gd name="connsiteY34" fmla="*/ 69009 h 207458"/>
                <a:gd name="connsiteX35" fmla="*/ 899760 w 1185143"/>
                <a:gd name="connsiteY35" fmla="*/ 207458 h 207458"/>
                <a:gd name="connsiteX36" fmla="*/ 112565 w 1185143"/>
                <a:gd name="connsiteY36" fmla="*/ 34477 h 207458"/>
                <a:gd name="connsiteX37" fmla="*/ 112565 w 1185143"/>
                <a:gd name="connsiteY37" fmla="*/ 103756 h 207458"/>
                <a:gd name="connsiteX38" fmla="*/ 86355 w 1185143"/>
                <a:gd name="connsiteY38" fmla="*/ 103756 h 207458"/>
                <a:gd name="connsiteX39" fmla="*/ 112565 w 1185143"/>
                <a:gd name="connsiteY39" fmla="*/ 34477 h 207458"/>
                <a:gd name="connsiteX40" fmla="*/ 69225 w 1185143"/>
                <a:gd name="connsiteY40" fmla="*/ 0 h 207458"/>
                <a:gd name="connsiteX41" fmla="*/ 0 w 1185143"/>
                <a:gd name="connsiteY41" fmla="*/ 207458 h 207458"/>
                <a:gd name="connsiteX42" fmla="*/ 51878 w 1185143"/>
                <a:gd name="connsiteY42" fmla="*/ 207458 h 207458"/>
                <a:gd name="connsiteX43" fmla="*/ 77817 w 1185143"/>
                <a:gd name="connsiteY43" fmla="*/ 138450 h 207458"/>
                <a:gd name="connsiteX44" fmla="*/ 112565 w 1185143"/>
                <a:gd name="connsiteY44" fmla="*/ 138450 h 207458"/>
                <a:gd name="connsiteX45" fmla="*/ 112565 w 1185143"/>
                <a:gd name="connsiteY45" fmla="*/ 207458 h 207458"/>
                <a:gd name="connsiteX46" fmla="*/ 164443 w 1185143"/>
                <a:gd name="connsiteY46" fmla="*/ 207458 h 207458"/>
                <a:gd name="connsiteX47" fmla="*/ 164443 w 1185143"/>
                <a:gd name="connsiteY47" fmla="*/ 0 h 207458"/>
                <a:gd name="connsiteX48" fmla="*/ 69225 w 1185143"/>
                <a:gd name="connsiteY48" fmla="*/ 0 h 207458"/>
                <a:gd name="connsiteX49" fmla="*/ 190328 w 1185143"/>
                <a:gd name="connsiteY49" fmla="*/ 207458 h 207458"/>
                <a:gd name="connsiteX50" fmla="*/ 242206 w 1185143"/>
                <a:gd name="connsiteY50" fmla="*/ 207458 h 207458"/>
                <a:gd name="connsiteX51" fmla="*/ 242206 w 1185143"/>
                <a:gd name="connsiteY51" fmla="*/ 0 h 207458"/>
                <a:gd name="connsiteX52" fmla="*/ 190328 w 1185143"/>
                <a:gd name="connsiteY52" fmla="*/ 0 h 207458"/>
                <a:gd name="connsiteX53" fmla="*/ 190328 w 1185143"/>
                <a:gd name="connsiteY53" fmla="*/ 207458 h 207458"/>
                <a:gd name="connsiteX54" fmla="*/ 328615 w 1185143"/>
                <a:gd name="connsiteY54" fmla="*/ 0 h 207458"/>
                <a:gd name="connsiteX55" fmla="*/ 328615 w 1185143"/>
                <a:gd name="connsiteY55" fmla="*/ 207458 h 207458"/>
                <a:gd name="connsiteX56" fmla="*/ 380493 w 1185143"/>
                <a:gd name="connsiteY56" fmla="*/ 207458 h 207458"/>
                <a:gd name="connsiteX57" fmla="*/ 380493 w 1185143"/>
                <a:gd name="connsiteY57" fmla="*/ 103756 h 207458"/>
                <a:gd name="connsiteX58" fmla="*/ 415295 w 1185143"/>
                <a:gd name="connsiteY58" fmla="*/ 103756 h 207458"/>
                <a:gd name="connsiteX59" fmla="*/ 415295 w 1185143"/>
                <a:gd name="connsiteY59" fmla="*/ 172981 h 207458"/>
                <a:gd name="connsiteX60" fmla="*/ 432641 w 1185143"/>
                <a:gd name="connsiteY60" fmla="*/ 207458 h 207458"/>
                <a:gd name="connsiteX61" fmla="*/ 553798 w 1185143"/>
                <a:gd name="connsiteY61" fmla="*/ 207458 h 207458"/>
                <a:gd name="connsiteX62" fmla="*/ 553798 w 1185143"/>
                <a:gd name="connsiteY62" fmla="*/ 103756 h 207458"/>
                <a:gd name="connsiteX63" fmla="*/ 579737 w 1185143"/>
                <a:gd name="connsiteY63" fmla="*/ 103756 h 207458"/>
                <a:gd name="connsiteX64" fmla="*/ 579737 w 1185143"/>
                <a:gd name="connsiteY64" fmla="*/ 207458 h 207458"/>
                <a:gd name="connsiteX65" fmla="*/ 631561 w 1185143"/>
                <a:gd name="connsiteY65" fmla="*/ 207458 h 207458"/>
                <a:gd name="connsiteX66" fmla="*/ 631561 w 1185143"/>
                <a:gd name="connsiteY66" fmla="*/ 103756 h 207458"/>
                <a:gd name="connsiteX67" fmla="*/ 657555 w 1185143"/>
                <a:gd name="connsiteY67" fmla="*/ 103756 h 207458"/>
                <a:gd name="connsiteX68" fmla="*/ 657555 w 1185143"/>
                <a:gd name="connsiteY68" fmla="*/ 207458 h 207458"/>
                <a:gd name="connsiteX69" fmla="*/ 709433 w 1185143"/>
                <a:gd name="connsiteY69" fmla="*/ 207458 h 207458"/>
                <a:gd name="connsiteX70" fmla="*/ 709433 w 1185143"/>
                <a:gd name="connsiteY70" fmla="*/ 103756 h 207458"/>
                <a:gd name="connsiteX71" fmla="*/ 735372 w 1185143"/>
                <a:gd name="connsiteY71" fmla="*/ 103756 h 207458"/>
                <a:gd name="connsiteX72" fmla="*/ 735372 w 1185143"/>
                <a:gd name="connsiteY72" fmla="*/ 69225 h 207458"/>
                <a:gd name="connsiteX73" fmla="*/ 709433 w 1185143"/>
                <a:gd name="connsiteY73" fmla="*/ 69225 h 207458"/>
                <a:gd name="connsiteX74" fmla="*/ 709433 w 1185143"/>
                <a:gd name="connsiteY74" fmla="*/ 34477 h 207458"/>
                <a:gd name="connsiteX75" fmla="*/ 657555 w 1185143"/>
                <a:gd name="connsiteY75" fmla="*/ 34477 h 207458"/>
                <a:gd name="connsiteX76" fmla="*/ 657555 w 1185143"/>
                <a:gd name="connsiteY76" fmla="*/ 69225 h 207458"/>
                <a:gd name="connsiteX77" fmla="*/ 631561 w 1185143"/>
                <a:gd name="connsiteY77" fmla="*/ 69225 h 207458"/>
                <a:gd name="connsiteX78" fmla="*/ 631561 w 1185143"/>
                <a:gd name="connsiteY78" fmla="*/ 34477 h 207458"/>
                <a:gd name="connsiteX79" fmla="*/ 579737 w 1185143"/>
                <a:gd name="connsiteY79" fmla="*/ 34477 h 207458"/>
                <a:gd name="connsiteX80" fmla="*/ 579737 w 1185143"/>
                <a:gd name="connsiteY80" fmla="*/ 69225 h 207458"/>
                <a:gd name="connsiteX81" fmla="*/ 501650 w 1185143"/>
                <a:gd name="connsiteY81" fmla="*/ 69225 h 207458"/>
                <a:gd name="connsiteX82" fmla="*/ 501650 w 1185143"/>
                <a:gd name="connsiteY82" fmla="*/ 172927 h 207458"/>
                <a:gd name="connsiteX83" fmla="*/ 467173 w 1185143"/>
                <a:gd name="connsiteY83" fmla="*/ 172927 h 207458"/>
                <a:gd name="connsiteX84" fmla="*/ 467173 w 1185143"/>
                <a:gd name="connsiteY84" fmla="*/ 69225 h 207458"/>
                <a:gd name="connsiteX85" fmla="*/ 380547 w 1185143"/>
                <a:gd name="connsiteY85" fmla="*/ 69225 h 207458"/>
                <a:gd name="connsiteX86" fmla="*/ 380547 w 1185143"/>
                <a:gd name="connsiteY86" fmla="*/ 34477 h 207458"/>
                <a:gd name="connsiteX87" fmla="*/ 467173 w 1185143"/>
                <a:gd name="connsiteY87" fmla="*/ 34477 h 207458"/>
                <a:gd name="connsiteX88" fmla="*/ 467173 w 1185143"/>
                <a:gd name="connsiteY88" fmla="*/ 0 h 207458"/>
                <a:gd name="connsiteX89" fmla="*/ 328669 w 1185143"/>
                <a:gd name="connsiteY89" fmla="*/ 0 h 207458"/>
                <a:gd name="connsiteX90" fmla="*/ 899760 w 1185143"/>
                <a:gd name="connsiteY90" fmla="*/ 34477 h 207458"/>
                <a:gd name="connsiteX91" fmla="*/ 951692 w 1185143"/>
                <a:gd name="connsiteY91" fmla="*/ 34477 h 207458"/>
                <a:gd name="connsiteX92" fmla="*/ 951692 w 1185143"/>
                <a:gd name="connsiteY92" fmla="*/ 0 h 207458"/>
                <a:gd name="connsiteX93" fmla="*/ 899760 w 1185143"/>
                <a:gd name="connsiteY93" fmla="*/ 0 h 207458"/>
                <a:gd name="connsiteX94" fmla="*/ 899760 w 1185143"/>
                <a:gd name="connsiteY94" fmla="*/ 34477 h 2074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</a:cxnLst>
              <a:rect l="l" t="t" r="r" b="b"/>
              <a:pathLst>
                <a:path w="1185143" h="207458">
                  <a:moveTo>
                    <a:pt x="259606" y="138234"/>
                  </a:moveTo>
                  <a:lnTo>
                    <a:pt x="311539" y="138234"/>
                  </a:lnTo>
                  <a:lnTo>
                    <a:pt x="311539" y="103486"/>
                  </a:lnTo>
                  <a:lnTo>
                    <a:pt x="259606" y="103486"/>
                  </a:lnTo>
                  <a:lnTo>
                    <a:pt x="259606" y="138234"/>
                  </a:lnTo>
                  <a:close/>
                  <a:moveTo>
                    <a:pt x="787196" y="103756"/>
                  </a:moveTo>
                  <a:lnTo>
                    <a:pt x="821943" y="103756"/>
                  </a:lnTo>
                  <a:lnTo>
                    <a:pt x="821943" y="172981"/>
                  </a:lnTo>
                  <a:lnTo>
                    <a:pt x="787196" y="172981"/>
                  </a:lnTo>
                  <a:lnTo>
                    <a:pt x="787196" y="103756"/>
                  </a:lnTo>
                  <a:close/>
                  <a:moveTo>
                    <a:pt x="752718" y="69225"/>
                  </a:moveTo>
                  <a:lnTo>
                    <a:pt x="735318" y="103756"/>
                  </a:lnTo>
                  <a:lnTo>
                    <a:pt x="735318" y="172981"/>
                  </a:lnTo>
                  <a:lnTo>
                    <a:pt x="752718" y="207458"/>
                  </a:lnTo>
                  <a:lnTo>
                    <a:pt x="873821" y="207458"/>
                  </a:lnTo>
                  <a:lnTo>
                    <a:pt x="873821" y="69225"/>
                  </a:lnTo>
                  <a:lnTo>
                    <a:pt x="752718" y="69225"/>
                  </a:lnTo>
                  <a:close/>
                  <a:moveTo>
                    <a:pt x="977577" y="69225"/>
                  </a:moveTo>
                  <a:lnTo>
                    <a:pt x="977577" y="207458"/>
                  </a:lnTo>
                  <a:lnTo>
                    <a:pt x="1029455" y="207458"/>
                  </a:lnTo>
                  <a:lnTo>
                    <a:pt x="1029455" y="103756"/>
                  </a:lnTo>
                  <a:lnTo>
                    <a:pt x="1055394" y="103756"/>
                  </a:lnTo>
                  <a:lnTo>
                    <a:pt x="1055394" y="207458"/>
                  </a:lnTo>
                  <a:lnTo>
                    <a:pt x="1107273" y="207458"/>
                  </a:lnTo>
                  <a:lnTo>
                    <a:pt x="1107273" y="103756"/>
                  </a:lnTo>
                  <a:lnTo>
                    <a:pt x="1133266" y="103756"/>
                  </a:lnTo>
                  <a:lnTo>
                    <a:pt x="1133266" y="207458"/>
                  </a:lnTo>
                  <a:lnTo>
                    <a:pt x="1185144" y="207458"/>
                  </a:lnTo>
                  <a:lnTo>
                    <a:pt x="1185144" y="103756"/>
                  </a:lnTo>
                  <a:lnTo>
                    <a:pt x="1168013" y="69225"/>
                  </a:lnTo>
                  <a:lnTo>
                    <a:pt x="977631" y="69225"/>
                  </a:lnTo>
                  <a:close/>
                  <a:moveTo>
                    <a:pt x="899760" y="207458"/>
                  </a:moveTo>
                  <a:lnTo>
                    <a:pt x="951692" y="207458"/>
                  </a:lnTo>
                  <a:lnTo>
                    <a:pt x="951692" y="69225"/>
                  </a:lnTo>
                  <a:lnTo>
                    <a:pt x="899760" y="69009"/>
                  </a:lnTo>
                  <a:lnTo>
                    <a:pt x="899760" y="207458"/>
                  </a:lnTo>
                  <a:close/>
                  <a:moveTo>
                    <a:pt x="112565" y="34477"/>
                  </a:moveTo>
                  <a:lnTo>
                    <a:pt x="112565" y="103756"/>
                  </a:lnTo>
                  <a:lnTo>
                    <a:pt x="86355" y="103756"/>
                  </a:lnTo>
                  <a:lnTo>
                    <a:pt x="112565" y="34477"/>
                  </a:lnTo>
                  <a:close/>
                  <a:moveTo>
                    <a:pt x="69225" y="0"/>
                  </a:moveTo>
                  <a:lnTo>
                    <a:pt x="0" y="207458"/>
                  </a:lnTo>
                  <a:lnTo>
                    <a:pt x="51878" y="207458"/>
                  </a:lnTo>
                  <a:lnTo>
                    <a:pt x="77817" y="138450"/>
                  </a:lnTo>
                  <a:lnTo>
                    <a:pt x="112565" y="138450"/>
                  </a:lnTo>
                  <a:lnTo>
                    <a:pt x="112565" y="207458"/>
                  </a:lnTo>
                  <a:lnTo>
                    <a:pt x="164443" y="207458"/>
                  </a:lnTo>
                  <a:lnTo>
                    <a:pt x="164443" y="0"/>
                  </a:lnTo>
                  <a:lnTo>
                    <a:pt x="69225" y="0"/>
                  </a:lnTo>
                  <a:close/>
                  <a:moveTo>
                    <a:pt x="190328" y="207458"/>
                  </a:moveTo>
                  <a:lnTo>
                    <a:pt x="242206" y="207458"/>
                  </a:lnTo>
                  <a:lnTo>
                    <a:pt x="242206" y="0"/>
                  </a:lnTo>
                  <a:lnTo>
                    <a:pt x="190328" y="0"/>
                  </a:lnTo>
                  <a:lnTo>
                    <a:pt x="190328" y="207458"/>
                  </a:lnTo>
                  <a:close/>
                  <a:moveTo>
                    <a:pt x="328615" y="0"/>
                  </a:moveTo>
                  <a:lnTo>
                    <a:pt x="328615" y="207458"/>
                  </a:lnTo>
                  <a:lnTo>
                    <a:pt x="380493" y="207458"/>
                  </a:lnTo>
                  <a:lnTo>
                    <a:pt x="380493" y="103756"/>
                  </a:lnTo>
                  <a:lnTo>
                    <a:pt x="415295" y="103756"/>
                  </a:lnTo>
                  <a:lnTo>
                    <a:pt x="415295" y="172981"/>
                  </a:lnTo>
                  <a:lnTo>
                    <a:pt x="432641" y="207458"/>
                  </a:lnTo>
                  <a:lnTo>
                    <a:pt x="553798" y="207458"/>
                  </a:lnTo>
                  <a:lnTo>
                    <a:pt x="553798" y="103756"/>
                  </a:lnTo>
                  <a:lnTo>
                    <a:pt x="579737" y="103756"/>
                  </a:lnTo>
                  <a:lnTo>
                    <a:pt x="579737" y="207458"/>
                  </a:lnTo>
                  <a:lnTo>
                    <a:pt x="631561" y="207458"/>
                  </a:lnTo>
                  <a:lnTo>
                    <a:pt x="631561" y="103756"/>
                  </a:lnTo>
                  <a:lnTo>
                    <a:pt x="657555" y="103756"/>
                  </a:lnTo>
                  <a:lnTo>
                    <a:pt x="657555" y="207458"/>
                  </a:lnTo>
                  <a:lnTo>
                    <a:pt x="709433" y="207458"/>
                  </a:lnTo>
                  <a:lnTo>
                    <a:pt x="709433" y="103756"/>
                  </a:lnTo>
                  <a:lnTo>
                    <a:pt x="735372" y="103756"/>
                  </a:lnTo>
                  <a:lnTo>
                    <a:pt x="735372" y="69225"/>
                  </a:lnTo>
                  <a:lnTo>
                    <a:pt x="709433" y="69225"/>
                  </a:lnTo>
                  <a:lnTo>
                    <a:pt x="709433" y="34477"/>
                  </a:lnTo>
                  <a:lnTo>
                    <a:pt x="657555" y="34477"/>
                  </a:lnTo>
                  <a:lnTo>
                    <a:pt x="657555" y="69225"/>
                  </a:lnTo>
                  <a:lnTo>
                    <a:pt x="631561" y="69225"/>
                  </a:lnTo>
                  <a:lnTo>
                    <a:pt x="631561" y="34477"/>
                  </a:lnTo>
                  <a:lnTo>
                    <a:pt x="579737" y="34477"/>
                  </a:lnTo>
                  <a:lnTo>
                    <a:pt x="579737" y="69225"/>
                  </a:lnTo>
                  <a:lnTo>
                    <a:pt x="501650" y="69225"/>
                  </a:lnTo>
                  <a:lnTo>
                    <a:pt x="501650" y="172927"/>
                  </a:lnTo>
                  <a:lnTo>
                    <a:pt x="467173" y="172927"/>
                  </a:lnTo>
                  <a:lnTo>
                    <a:pt x="467173" y="69225"/>
                  </a:lnTo>
                  <a:lnTo>
                    <a:pt x="380547" y="69225"/>
                  </a:lnTo>
                  <a:lnTo>
                    <a:pt x="380547" y="34477"/>
                  </a:lnTo>
                  <a:lnTo>
                    <a:pt x="467173" y="34477"/>
                  </a:lnTo>
                  <a:lnTo>
                    <a:pt x="467173" y="0"/>
                  </a:lnTo>
                  <a:lnTo>
                    <a:pt x="328669" y="0"/>
                  </a:lnTo>
                  <a:close/>
                  <a:moveTo>
                    <a:pt x="899760" y="34477"/>
                  </a:moveTo>
                  <a:lnTo>
                    <a:pt x="951692" y="34477"/>
                  </a:lnTo>
                  <a:lnTo>
                    <a:pt x="951692" y="0"/>
                  </a:lnTo>
                  <a:lnTo>
                    <a:pt x="899760" y="0"/>
                  </a:lnTo>
                  <a:lnTo>
                    <a:pt x="899760" y="34477"/>
                  </a:lnTo>
                  <a:close/>
                </a:path>
              </a:pathLst>
            </a:custGeom>
            <a:solidFill>
              <a:srgbClr val="004F9F"/>
            </a:solidFill>
            <a:ln w="538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" name="Freeform: Shape 9">
              <a:extLst>
                <a:ext uri="{FF2B5EF4-FFF2-40B4-BE49-F238E27FC236}">
                  <a16:creationId xmlns:a16="http://schemas.microsoft.com/office/drawing/2014/main" id="{95F62912-AD05-DB00-3F45-40DAF6BFF1F9}"/>
                </a:ext>
              </a:extLst>
            </p:cNvPr>
            <p:cNvSpPr/>
            <p:nvPr/>
          </p:nvSpPr>
          <p:spPr>
            <a:xfrm>
              <a:off x="9951588" y="538699"/>
              <a:ext cx="415348" cy="363146"/>
            </a:xfrm>
            <a:custGeom>
              <a:avLst/>
              <a:gdLst>
                <a:gd name="connsiteX0" fmla="*/ 156175 w 415348"/>
                <a:gd name="connsiteY0" fmla="*/ 155526 h 363146"/>
                <a:gd name="connsiteX1" fmla="*/ 207782 w 415348"/>
                <a:gd name="connsiteY1" fmla="*/ 103864 h 363146"/>
                <a:gd name="connsiteX2" fmla="*/ 259390 w 415348"/>
                <a:gd name="connsiteY2" fmla="*/ 155526 h 363146"/>
                <a:gd name="connsiteX3" fmla="*/ 207782 w 415348"/>
                <a:gd name="connsiteY3" fmla="*/ 207296 h 363146"/>
                <a:gd name="connsiteX4" fmla="*/ 156175 w 415348"/>
                <a:gd name="connsiteY4" fmla="*/ 155526 h 363146"/>
                <a:gd name="connsiteX5" fmla="*/ 207782 w 415348"/>
                <a:gd name="connsiteY5" fmla="*/ 0 h 363146"/>
                <a:gd name="connsiteX6" fmla="*/ 0 w 415348"/>
                <a:gd name="connsiteY6" fmla="*/ 207350 h 363146"/>
                <a:gd name="connsiteX7" fmla="*/ 51986 w 415348"/>
                <a:gd name="connsiteY7" fmla="*/ 259228 h 363146"/>
                <a:gd name="connsiteX8" fmla="*/ 104134 w 415348"/>
                <a:gd name="connsiteY8" fmla="*/ 207512 h 363146"/>
                <a:gd name="connsiteX9" fmla="*/ 155904 w 415348"/>
                <a:gd name="connsiteY9" fmla="*/ 259499 h 363146"/>
                <a:gd name="connsiteX10" fmla="*/ 103810 w 415348"/>
                <a:gd name="connsiteY10" fmla="*/ 311593 h 363146"/>
                <a:gd name="connsiteX11" fmla="*/ 155904 w 415348"/>
                <a:gd name="connsiteY11" fmla="*/ 363147 h 363146"/>
                <a:gd name="connsiteX12" fmla="*/ 206810 w 415348"/>
                <a:gd name="connsiteY12" fmla="*/ 311431 h 363146"/>
                <a:gd name="connsiteX13" fmla="*/ 259823 w 415348"/>
                <a:gd name="connsiteY13" fmla="*/ 363147 h 363146"/>
                <a:gd name="connsiteX14" fmla="*/ 311485 w 415348"/>
                <a:gd name="connsiteY14" fmla="*/ 311431 h 363146"/>
                <a:gd name="connsiteX15" fmla="*/ 259823 w 415348"/>
                <a:gd name="connsiteY15" fmla="*/ 259769 h 363146"/>
                <a:gd name="connsiteX16" fmla="*/ 312025 w 415348"/>
                <a:gd name="connsiteY16" fmla="*/ 207512 h 363146"/>
                <a:gd name="connsiteX17" fmla="*/ 363633 w 415348"/>
                <a:gd name="connsiteY17" fmla="*/ 259228 h 363146"/>
                <a:gd name="connsiteX18" fmla="*/ 415349 w 415348"/>
                <a:gd name="connsiteY18" fmla="*/ 207512 h 363146"/>
                <a:gd name="connsiteX19" fmla="*/ 207782 w 415348"/>
                <a:gd name="connsiteY19" fmla="*/ 0 h 3631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415348" h="363146">
                  <a:moveTo>
                    <a:pt x="156175" y="155526"/>
                  </a:moveTo>
                  <a:lnTo>
                    <a:pt x="207782" y="103864"/>
                  </a:lnTo>
                  <a:lnTo>
                    <a:pt x="259390" y="155526"/>
                  </a:lnTo>
                  <a:lnTo>
                    <a:pt x="207782" y="207296"/>
                  </a:lnTo>
                  <a:lnTo>
                    <a:pt x="156175" y="155526"/>
                  </a:lnTo>
                  <a:close/>
                  <a:moveTo>
                    <a:pt x="207782" y="0"/>
                  </a:moveTo>
                  <a:lnTo>
                    <a:pt x="0" y="207350"/>
                  </a:lnTo>
                  <a:lnTo>
                    <a:pt x="51986" y="259228"/>
                  </a:lnTo>
                  <a:lnTo>
                    <a:pt x="104134" y="207512"/>
                  </a:lnTo>
                  <a:lnTo>
                    <a:pt x="155904" y="259499"/>
                  </a:lnTo>
                  <a:lnTo>
                    <a:pt x="103810" y="311593"/>
                  </a:lnTo>
                  <a:lnTo>
                    <a:pt x="155904" y="363147"/>
                  </a:lnTo>
                  <a:lnTo>
                    <a:pt x="206810" y="311431"/>
                  </a:lnTo>
                  <a:lnTo>
                    <a:pt x="259823" y="363147"/>
                  </a:lnTo>
                  <a:lnTo>
                    <a:pt x="311485" y="311431"/>
                  </a:lnTo>
                  <a:lnTo>
                    <a:pt x="259823" y="259769"/>
                  </a:lnTo>
                  <a:lnTo>
                    <a:pt x="312025" y="207512"/>
                  </a:lnTo>
                  <a:lnTo>
                    <a:pt x="363633" y="259228"/>
                  </a:lnTo>
                  <a:lnTo>
                    <a:pt x="415349" y="207512"/>
                  </a:lnTo>
                  <a:lnTo>
                    <a:pt x="207782" y="0"/>
                  </a:lnTo>
                  <a:close/>
                </a:path>
              </a:pathLst>
            </a:custGeom>
            <a:solidFill>
              <a:schemeClr val="accent2"/>
            </a:solidFill>
            <a:ln w="538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78303566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2329" userDrawn="1">
          <p15:clr>
            <a:srgbClr val="FBAE40"/>
          </p15:clr>
        </p15:guide>
        <p15:guide id="5" orient="horz" pos="2158" userDrawn="1">
          <p15:clr>
            <a:srgbClr val="FBAE40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42785237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3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1939" b="1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extBox 1"/>
          <p:cNvSpPr txBox="1"/>
          <p:nvPr userDrawn="1"/>
        </p:nvSpPr>
        <p:spPr>
          <a:xfrm>
            <a:off x="11626137" y="6566446"/>
            <a:ext cx="284012" cy="155496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algn="l"/>
            <a:endParaRPr lang="pt-BR" sz="1020" b="0" i="0" baseline="0"/>
          </a:p>
        </p:txBody>
      </p:sp>
      <p:sp>
        <p:nvSpPr>
          <p:cNvPr id="7" name="Rectangle 6"/>
          <p:cNvSpPr/>
          <p:nvPr userDrawn="1"/>
        </p:nvSpPr>
        <p:spPr bwMode="auto">
          <a:xfrm>
            <a:off x="1" y="6738139"/>
            <a:ext cx="12191567" cy="119862"/>
          </a:xfrm>
          <a:prstGeom prst="rect">
            <a:avLst/>
          </a:prstGeom>
          <a:gradFill flip="none" rotWithShape="1">
            <a:gsLst>
              <a:gs pos="0">
                <a:srgbClr val="223C85"/>
              </a:gs>
              <a:gs pos="100000">
                <a:srgbClr val="00AEEF"/>
              </a:gs>
            </a:gsLst>
            <a:lin ang="1080000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37">
              <a:solidFill>
                <a:schemeClr val="tx1"/>
              </a:solidFill>
            </a:endParaRPr>
          </a:p>
        </p:txBody>
      </p:sp>
      <p:sp>
        <p:nvSpPr>
          <p:cNvPr id="8" name="Rectangle 1027"/>
          <p:cNvSpPr txBox="1">
            <a:spLocks noChangeArrowheads="1"/>
          </p:cNvSpPr>
          <p:nvPr userDrawn="1"/>
        </p:nvSpPr>
        <p:spPr bwMode="auto">
          <a:xfrm>
            <a:off x="4568399" y="6738702"/>
            <a:ext cx="3055203" cy="11213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r>
              <a:rPr lang="en-US" sz="714" b="1" kern="0">
                <a:solidFill>
                  <a:schemeClr val="bg1"/>
                </a:solidFill>
              </a:rPr>
              <a:t>CONFIDENTIAL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53EAF9F3-7602-4989-BDF4-F5A416C98748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479695" y="1876609"/>
            <a:ext cx="4646019" cy="935980"/>
          </a:xfrm>
          <a:prstGeom prst="rect">
            <a:avLst/>
          </a:prstGeom>
        </p:spPr>
      </p:pic>
      <p:sp>
        <p:nvSpPr>
          <p:cNvPr id="10" name="Title 1">
            <a:extLst>
              <a:ext uri="{FF2B5EF4-FFF2-40B4-BE49-F238E27FC236}">
                <a16:creationId xmlns:a16="http://schemas.microsoft.com/office/drawing/2014/main" id="{B17461D3-4A65-4D9F-92E7-EA27C2E071A3}"/>
              </a:ext>
            </a:extLst>
          </p:cNvPr>
          <p:cNvSpPr txBox="1">
            <a:spLocks/>
          </p:cNvSpPr>
          <p:nvPr userDrawn="1"/>
        </p:nvSpPr>
        <p:spPr bwMode="auto">
          <a:xfrm>
            <a:off x="583329" y="3455286"/>
            <a:ext cx="8087165" cy="2826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913526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75353" algn="l"/>
              </a:tabLst>
              <a:defRPr sz="1800" b="1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charset="0"/>
              </a:defRPr>
            </a:lvl2pPr>
            <a:lvl3pPr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charset="0"/>
              </a:defRPr>
            </a:lvl3pPr>
            <a:lvl4pPr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charset="0"/>
              </a:defRPr>
            </a:lvl4pPr>
            <a:lvl5pPr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charset="0"/>
              </a:defRPr>
            </a:lvl5pPr>
            <a:lvl6pPr marL="466481"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charset="0"/>
              </a:defRPr>
            </a:lvl6pPr>
            <a:lvl7pPr marL="932962"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charset="0"/>
              </a:defRPr>
            </a:lvl7pPr>
            <a:lvl8pPr marL="1399443"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charset="0"/>
              </a:defRPr>
            </a:lvl8pPr>
            <a:lvl9pPr marL="1865925"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charset="0"/>
              </a:defRPr>
            </a:lvl9pPr>
          </a:lstStyle>
          <a:p>
            <a:endParaRPr lang="pt-BR" sz="1800" kern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5E0E9F7E-88C1-43B3-AE8D-99F91CDC75E6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583328" y="3230390"/>
            <a:ext cx="9069676" cy="369332"/>
          </a:xfrm>
        </p:spPr>
        <p:txBody>
          <a:bodyPr/>
          <a:lstStyle>
            <a:lvl1pPr>
              <a:defRPr sz="2400" b="1"/>
            </a:lvl1pPr>
            <a:lvl2pPr marL="162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252B3E7D-B996-406C-ACB4-434F99E08F20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583328" y="3824618"/>
            <a:ext cx="4682114" cy="246221"/>
          </a:xfrm>
        </p:spPr>
        <p:txBody>
          <a:bodyPr/>
          <a:lstStyle>
            <a:lvl1pPr>
              <a:defRPr sz="16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88761810"/>
      </p:ext>
    </p:extLst>
  </p:cSld>
  <p:clrMapOvr>
    <a:masterClrMapping/>
  </p:clrMapOvr>
  <p:transition spd="med"/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5" name="Objek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/>
          <p:cNvSpPr/>
          <p:nvPr userDrawn="1">
            <p:custDataLst>
              <p:tags r:id="rId2"/>
            </p:custDataLst>
          </p:nvPr>
        </p:nvSpPr>
        <p:spPr>
          <a:xfrm>
            <a:off x="2" y="1"/>
            <a:ext cx="158751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3295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426001" y="1143624"/>
            <a:ext cx="11340000" cy="125611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itel 1">
            <a:extLst>
              <a:ext uri="{FF2B5EF4-FFF2-40B4-BE49-F238E27FC236}">
                <a16:creationId xmlns:a16="http://schemas.microsoft.com/office/drawing/2014/main" id="{B36A5736-EF74-4B19-9549-C4B41CD10E1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26000" y="322641"/>
            <a:ext cx="8941520" cy="314028"/>
          </a:xfrm>
          <a:prstGeom prst="rect">
            <a:avLst/>
          </a:prstGeom>
        </p:spPr>
        <p:txBody>
          <a:bodyPr vert="horz" anchor="ctr"/>
          <a:lstStyle/>
          <a:p>
            <a:r>
              <a:rPr lang="en-US" altLang="nl-NL"/>
              <a:t>Click to edit title (max. 2 lines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48002884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ustomer Ecosyst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217245077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ástupný symbol pro obsah 2"/>
          <p:cNvSpPr>
            <a:spLocks noGrp="1"/>
          </p:cNvSpPr>
          <p:nvPr userDrawn="1">
            <p:ph idx="1" hasCustomPrompt="1"/>
          </p:nvPr>
        </p:nvSpPr>
        <p:spPr>
          <a:xfrm>
            <a:off x="390960" y="1622139"/>
            <a:ext cx="11410091" cy="1256112"/>
          </a:xfrm>
        </p:spPr>
        <p:txBody>
          <a:bodyPr/>
          <a:lstStyle>
            <a:lvl1pPr>
              <a:defRPr baseline="0">
                <a:latin typeface="Verdana" panose="020B0604030504040204" pitchFamily="34" charset="0"/>
              </a:defRPr>
            </a:lvl1pPr>
            <a:lvl2pPr>
              <a:defRPr>
                <a:latin typeface="Verdana" panose="020B0604030504040204" pitchFamily="34" charset="0"/>
              </a:defRPr>
            </a:lvl2pPr>
            <a:lvl3pPr>
              <a:defRPr>
                <a:latin typeface="Verdana" panose="020B0604030504040204" pitchFamily="34" charset="0"/>
              </a:defRPr>
            </a:lvl3pPr>
            <a:lvl4pPr>
              <a:defRPr>
                <a:latin typeface="Verdana" panose="020B0604030504040204" pitchFamily="34" charset="0"/>
              </a:defRPr>
            </a:lvl4pPr>
            <a:lvl5pPr>
              <a:defRPr>
                <a:latin typeface="Verdana" panose="020B0604030504040204" pitchFamily="34" charset="0"/>
              </a:defRPr>
            </a:lvl5pPr>
          </a:lstStyle>
          <a:p>
            <a:pPr lvl="0"/>
            <a:r>
              <a:rPr lang="en-GB" noProof="0"/>
              <a:t>First level text</a:t>
            </a:r>
          </a:p>
          <a:p>
            <a:pPr lvl="1"/>
            <a:r>
              <a:rPr lang="en-GB" noProof="0"/>
              <a:t>Second level text</a:t>
            </a:r>
          </a:p>
          <a:p>
            <a:pPr lvl="2"/>
            <a:r>
              <a:rPr lang="en-GB" noProof="0"/>
              <a:t>Third level text</a:t>
            </a:r>
          </a:p>
          <a:p>
            <a:pPr lvl="3"/>
            <a:r>
              <a:rPr lang="en-GB" noProof="0"/>
              <a:t>Fourth level text</a:t>
            </a:r>
          </a:p>
          <a:p>
            <a:pPr lvl="4"/>
            <a:r>
              <a:rPr lang="en-GB" noProof="0"/>
              <a:t>Fifth level text</a:t>
            </a:r>
          </a:p>
        </p:txBody>
      </p:sp>
      <p:sp>
        <p:nvSpPr>
          <p:cNvPr id="7" name="Zástupný symbol pro číslo snímku 6"/>
          <p:cNvSpPr>
            <a:spLocks noGrp="1"/>
          </p:cNvSpPr>
          <p:nvPr userDrawn="1">
            <p:ph type="sldNum" sz="quarter" idx="10"/>
          </p:nvPr>
        </p:nvSpPr>
        <p:spPr/>
        <p:txBody>
          <a:bodyPr/>
          <a:lstStyle>
            <a:lvl1pPr>
              <a:defRPr>
                <a:latin typeface="Verdana" panose="020B0604030504040204" pitchFamily="34" charset="0"/>
              </a:defRPr>
            </a:lvl1pPr>
          </a:lstStyle>
          <a:p>
            <a:fld id="{1E956721-BB38-4972-8ACD-5A2C9377E3B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9" name="Zástupný symbol pro text 28"/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389933" y="1006137"/>
            <a:ext cx="11410091" cy="410668"/>
          </a:xfrm>
        </p:spPr>
        <p:txBody>
          <a:bodyPr>
            <a:noAutofit/>
          </a:bodyPr>
          <a:lstStyle>
            <a:lvl1pPr marL="0" indent="0">
              <a:lnSpc>
                <a:spcPts val="2737"/>
              </a:lnSpc>
              <a:buNone/>
              <a:defRPr sz="2281" baseline="0"/>
            </a:lvl1pPr>
          </a:lstStyle>
          <a:p>
            <a:pPr lvl="0"/>
            <a:r>
              <a:rPr lang="en-GB" noProof="0"/>
              <a:t>Subheading</a:t>
            </a:r>
          </a:p>
        </p:txBody>
      </p:sp>
      <p:sp>
        <p:nvSpPr>
          <p:cNvPr id="30" name="Nadpis 29"/>
          <p:cNvSpPr>
            <a:spLocks noGrp="1"/>
          </p:cNvSpPr>
          <p:nvPr userDrawn="1">
            <p:ph type="title" hasCustomPrompt="1"/>
          </p:nvPr>
        </p:nvSpPr>
        <p:spPr>
          <a:xfrm>
            <a:off x="389930" y="319273"/>
            <a:ext cx="10972800" cy="314028"/>
          </a:xfrm>
        </p:spPr>
        <p:txBody>
          <a:bodyPr/>
          <a:lstStyle>
            <a:lvl1pPr>
              <a:defRPr/>
            </a:lvl1pPr>
          </a:lstStyle>
          <a:p>
            <a:r>
              <a:rPr lang="en-GB" noProof="0"/>
              <a:t>Headline Text (Page Message)</a:t>
            </a:r>
          </a:p>
        </p:txBody>
      </p:sp>
    </p:spTree>
    <p:extLst>
      <p:ext uri="{BB962C8B-B14F-4D97-AF65-F5344CB8AC3E}">
        <p14:creationId xmlns:p14="http://schemas.microsoft.com/office/powerpoint/2010/main" val="17103627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3_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90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3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0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1800" b="1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extBox 1"/>
          <p:cNvSpPr txBox="1"/>
          <p:nvPr userDrawn="1"/>
        </p:nvSpPr>
        <p:spPr>
          <a:xfrm>
            <a:off x="11626137" y="6566446"/>
            <a:ext cx="284012" cy="155496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algn="l"/>
            <a:endParaRPr lang="pt-BR" sz="1020" b="0" i="0" baseline="0"/>
          </a:p>
        </p:txBody>
      </p:sp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6" cstate="print"/>
          <a:stretch>
            <a:fillRect/>
          </a:stretch>
        </p:blipFill>
        <p:spPr>
          <a:xfrm>
            <a:off x="628255" y="1914726"/>
            <a:ext cx="4740388" cy="954991"/>
          </a:xfrm>
          <a:prstGeom prst="rect">
            <a:avLst/>
          </a:prstGeom>
        </p:spPr>
      </p:pic>
      <p:sp>
        <p:nvSpPr>
          <p:cNvPr id="22" name="Title 21"/>
          <p:cNvSpPr>
            <a:spLocks noGrp="1"/>
          </p:cNvSpPr>
          <p:nvPr>
            <p:ph type="title"/>
          </p:nvPr>
        </p:nvSpPr>
        <p:spPr>
          <a:xfrm>
            <a:off x="628256" y="3449115"/>
            <a:ext cx="8840220" cy="314028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SG"/>
          </a:p>
        </p:txBody>
      </p:sp>
      <p:sp>
        <p:nvSpPr>
          <p:cNvPr id="7" name="Rectangle 6"/>
          <p:cNvSpPr/>
          <p:nvPr userDrawn="1"/>
        </p:nvSpPr>
        <p:spPr bwMode="auto">
          <a:xfrm>
            <a:off x="2" y="6738139"/>
            <a:ext cx="12191567" cy="119862"/>
          </a:xfrm>
          <a:prstGeom prst="rect">
            <a:avLst/>
          </a:prstGeom>
          <a:gradFill flip="none" rotWithShape="1">
            <a:gsLst>
              <a:gs pos="0">
                <a:srgbClr val="223C85"/>
              </a:gs>
              <a:gs pos="100000">
                <a:srgbClr val="00AEEF"/>
              </a:gs>
            </a:gsLst>
            <a:lin ang="1080000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37">
              <a:solidFill>
                <a:schemeClr val="tx1"/>
              </a:solidFill>
            </a:endParaRPr>
          </a:p>
        </p:txBody>
      </p:sp>
      <p:sp>
        <p:nvSpPr>
          <p:cNvPr id="8" name="Rectangle 1027"/>
          <p:cNvSpPr txBox="1">
            <a:spLocks noChangeArrowheads="1"/>
          </p:cNvSpPr>
          <p:nvPr userDrawn="1"/>
        </p:nvSpPr>
        <p:spPr bwMode="auto">
          <a:xfrm>
            <a:off x="4568399" y="6738702"/>
            <a:ext cx="3055203" cy="11213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r>
              <a:rPr lang="en-US" sz="714" b="1" kern="0">
                <a:solidFill>
                  <a:schemeClr val="bg1"/>
                </a:solidFill>
              </a:rPr>
              <a:t>CONFIDENTIA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A86B6AC-D72B-46FF-9365-159E21B3075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27630" y="3840458"/>
            <a:ext cx="8840220" cy="215444"/>
          </a:xfrm>
        </p:spPr>
        <p:txBody>
          <a:bodyPr/>
          <a:lstStyle>
            <a:lvl3pPr marL="111125" indent="0">
              <a:buNone/>
              <a:defRPr sz="1400">
                <a:solidFill>
                  <a:schemeClr val="accent4"/>
                </a:solidFill>
              </a:defRPr>
            </a:lvl3pPr>
          </a:lstStyle>
          <a:p>
            <a:pPr lvl="2"/>
            <a:r>
              <a:rPr lang="en-US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4020450049"/>
      </p:ext>
    </p:extLst>
  </p:cSld>
  <p:clrMapOvr>
    <a:masterClrMapping/>
  </p:clrMapOvr>
  <p:transition spd="med"/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Placeholder 6"/>
          <p:cNvSpPr>
            <a:spLocks noGrp="1"/>
          </p:cNvSpPr>
          <p:nvPr>
            <p:ph type="title"/>
          </p:nvPr>
        </p:nvSpPr>
        <p:spPr>
          <a:xfrm>
            <a:off x="623272" y="205061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/>
              <a:t>Click to edit Master title sty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47529708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Page bilingual_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DF0B494-BA15-F2B4-DAD3-A3B2AF6C73B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39748" y="1875367"/>
            <a:ext cx="11112502" cy="1821921"/>
          </a:xfrm>
        </p:spPr>
        <p:txBody>
          <a:bodyPr anchor="b">
            <a:noAutofit/>
          </a:bodyPr>
          <a:lstStyle>
            <a:lvl1pPr algn="l">
              <a:defRPr sz="5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Please insert a Tit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8D95B62-3DC6-BA29-E15A-17D867C811E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39748" y="3970338"/>
            <a:ext cx="11112502" cy="942022"/>
          </a:xfrm>
        </p:spPr>
        <p:txBody>
          <a:bodyPr>
            <a:noAutofit/>
          </a:bodyPr>
          <a:lstStyle>
            <a:lvl1pPr marL="0" indent="0" algn="l">
              <a:buNone/>
              <a:defRPr sz="2800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Division/Trading Entity Name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5F8D7363-2FCC-9FA4-5689-CD0AE7825CD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39749" y="5858230"/>
            <a:ext cx="5556251" cy="184666"/>
          </a:xfrm>
        </p:spPr>
        <p:txBody>
          <a:bodyPr anchor="b">
            <a:spAutoFit/>
          </a:bodyPr>
          <a:lstStyle>
            <a:lvl1pPr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Date</a:t>
            </a:r>
          </a:p>
        </p:txBody>
      </p:sp>
      <p:sp>
        <p:nvSpPr>
          <p:cNvPr id="17" name="Freeform: Shape 16">
            <a:extLst>
              <a:ext uri="{FF2B5EF4-FFF2-40B4-BE49-F238E27FC236}">
                <a16:creationId xmlns:a16="http://schemas.microsoft.com/office/drawing/2014/main" id="{6F6D1DAD-05DF-9AD9-7E5E-DD88E78C0A43}"/>
              </a:ext>
            </a:extLst>
          </p:cNvPr>
          <p:cNvSpPr>
            <a:spLocks/>
          </p:cNvSpPr>
          <p:nvPr/>
        </p:nvSpPr>
        <p:spPr bwMode="black">
          <a:xfrm>
            <a:off x="539748" y="1071851"/>
            <a:ext cx="2493533" cy="436490"/>
          </a:xfrm>
          <a:custGeom>
            <a:avLst/>
            <a:gdLst>
              <a:gd name="connsiteX0" fmla="*/ 259606 w 1185143"/>
              <a:gd name="connsiteY0" fmla="*/ 138234 h 207458"/>
              <a:gd name="connsiteX1" fmla="*/ 311539 w 1185143"/>
              <a:gd name="connsiteY1" fmla="*/ 138234 h 207458"/>
              <a:gd name="connsiteX2" fmla="*/ 311539 w 1185143"/>
              <a:gd name="connsiteY2" fmla="*/ 103486 h 207458"/>
              <a:gd name="connsiteX3" fmla="*/ 259606 w 1185143"/>
              <a:gd name="connsiteY3" fmla="*/ 103486 h 207458"/>
              <a:gd name="connsiteX4" fmla="*/ 259606 w 1185143"/>
              <a:gd name="connsiteY4" fmla="*/ 138234 h 207458"/>
              <a:gd name="connsiteX5" fmla="*/ 787196 w 1185143"/>
              <a:gd name="connsiteY5" fmla="*/ 103756 h 207458"/>
              <a:gd name="connsiteX6" fmla="*/ 821943 w 1185143"/>
              <a:gd name="connsiteY6" fmla="*/ 103756 h 207458"/>
              <a:gd name="connsiteX7" fmla="*/ 821943 w 1185143"/>
              <a:gd name="connsiteY7" fmla="*/ 172981 h 207458"/>
              <a:gd name="connsiteX8" fmla="*/ 787196 w 1185143"/>
              <a:gd name="connsiteY8" fmla="*/ 172981 h 207458"/>
              <a:gd name="connsiteX9" fmla="*/ 787196 w 1185143"/>
              <a:gd name="connsiteY9" fmla="*/ 103756 h 207458"/>
              <a:gd name="connsiteX10" fmla="*/ 752718 w 1185143"/>
              <a:gd name="connsiteY10" fmla="*/ 69225 h 207458"/>
              <a:gd name="connsiteX11" fmla="*/ 735318 w 1185143"/>
              <a:gd name="connsiteY11" fmla="*/ 103756 h 207458"/>
              <a:gd name="connsiteX12" fmla="*/ 735318 w 1185143"/>
              <a:gd name="connsiteY12" fmla="*/ 172981 h 207458"/>
              <a:gd name="connsiteX13" fmla="*/ 752718 w 1185143"/>
              <a:gd name="connsiteY13" fmla="*/ 207458 h 207458"/>
              <a:gd name="connsiteX14" fmla="*/ 873821 w 1185143"/>
              <a:gd name="connsiteY14" fmla="*/ 207458 h 207458"/>
              <a:gd name="connsiteX15" fmla="*/ 873821 w 1185143"/>
              <a:gd name="connsiteY15" fmla="*/ 69225 h 207458"/>
              <a:gd name="connsiteX16" fmla="*/ 752718 w 1185143"/>
              <a:gd name="connsiteY16" fmla="*/ 69225 h 207458"/>
              <a:gd name="connsiteX17" fmla="*/ 977577 w 1185143"/>
              <a:gd name="connsiteY17" fmla="*/ 69225 h 207458"/>
              <a:gd name="connsiteX18" fmla="*/ 977577 w 1185143"/>
              <a:gd name="connsiteY18" fmla="*/ 207458 h 207458"/>
              <a:gd name="connsiteX19" fmla="*/ 1029455 w 1185143"/>
              <a:gd name="connsiteY19" fmla="*/ 207458 h 207458"/>
              <a:gd name="connsiteX20" fmla="*/ 1029455 w 1185143"/>
              <a:gd name="connsiteY20" fmla="*/ 103756 h 207458"/>
              <a:gd name="connsiteX21" fmla="*/ 1055394 w 1185143"/>
              <a:gd name="connsiteY21" fmla="*/ 103756 h 207458"/>
              <a:gd name="connsiteX22" fmla="*/ 1055394 w 1185143"/>
              <a:gd name="connsiteY22" fmla="*/ 207458 h 207458"/>
              <a:gd name="connsiteX23" fmla="*/ 1107273 w 1185143"/>
              <a:gd name="connsiteY23" fmla="*/ 207458 h 207458"/>
              <a:gd name="connsiteX24" fmla="*/ 1107273 w 1185143"/>
              <a:gd name="connsiteY24" fmla="*/ 103756 h 207458"/>
              <a:gd name="connsiteX25" fmla="*/ 1133266 w 1185143"/>
              <a:gd name="connsiteY25" fmla="*/ 103756 h 207458"/>
              <a:gd name="connsiteX26" fmla="*/ 1133266 w 1185143"/>
              <a:gd name="connsiteY26" fmla="*/ 207458 h 207458"/>
              <a:gd name="connsiteX27" fmla="*/ 1185144 w 1185143"/>
              <a:gd name="connsiteY27" fmla="*/ 207458 h 207458"/>
              <a:gd name="connsiteX28" fmla="*/ 1185144 w 1185143"/>
              <a:gd name="connsiteY28" fmla="*/ 103756 h 207458"/>
              <a:gd name="connsiteX29" fmla="*/ 1168013 w 1185143"/>
              <a:gd name="connsiteY29" fmla="*/ 69225 h 207458"/>
              <a:gd name="connsiteX30" fmla="*/ 977631 w 1185143"/>
              <a:gd name="connsiteY30" fmla="*/ 69225 h 207458"/>
              <a:gd name="connsiteX31" fmla="*/ 899760 w 1185143"/>
              <a:gd name="connsiteY31" fmla="*/ 207458 h 207458"/>
              <a:gd name="connsiteX32" fmla="*/ 951692 w 1185143"/>
              <a:gd name="connsiteY32" fmla="*/ 207458 h 207458"/>
              <a:gd name="connsiteX33" fmla="*/ 951692 w 1185143"/>
              <a:gd name="connsiteY33" fmla="*/ 69225 h 207458"/>
              <a:gd name="connsiteX34" fmla="*/ 899760 w 1185143"/>
              <a:gd name="connsiteY34" fmla="*/ 69009 h 207458"/>
              <a:gd name="connsiteX35" fmla="*/ 899760 w 1185143"/>
              <a:gd name="connsiteY35" fmla="*/ 207458 h 207458"/>
              <a:gd name="connsiteX36" fmla="*/ 112565 w 1185143"/>
              <a:gd name="connsiteY36" fmla="*/ 34477 h 207458"/>
              <a:gd name="connsiteX37" fmla="*/ 112565 w 1185143"/>
              <a:gd name="connsiteY37" fmla="*/ 103756 h 207458"/>
              <a:gd name="connsiteX38" fmla="*/ 86355 w 1185143"/>
              <a:gd name="connsiteY38" fmla="*/ 103756 h 207458"/>
              <a:gd name="connsiteX39" fmla="*/ 112565 w 1185143"/>
              <a:gd name="connsiteY39" fmla="*/ 34477 h 207458"/>
              <a:gd name="connsiteX40" fmla="*/ 69225 w 1185143"/>
              <a:gd name="connsiteY40" fmla="*/ 0 h 207458"/>
              <a:gd name="connsiteX41" fmla="*/ 0 w 1185143"/>
              <a:gd name="connsiteY41" fmla="*/ 207458 h 207458"/>
              <a:gd name="connsiteX42" fmla="*/ 51878 w 1185143"/>
              <a:gd name="connsiteY42" fmla="*/ 207458 h 207458"/>
              <a:gd name="connsiteX43" fmla="*/ 77817 w 1185143"/>
              <a:gd name="connsiteY43" fmla="*/ 138450 h 207458"/>
              <a:gd name="connsiteX44" fmla="*/ 112565 w 1185143"/>
              <a:gd name="connsiteY44" fmla="*/ 138450 h 207458"/>
              <a:gd name="connsiteX45" fmla="*/ 112565 w 1185143"/>
              <a:gd name="connsiteY45" fmla="*/ 207458 h 207458"/>
              <a:gd name="connsiteX46" fmla="*/ 164443 w 1185143"/>
              <a:gd name="connsiteY46" fmla="*/ 207458 h 207458"/>
              <a:gd name="connsiteX47" fmla="*/ 164443 w 1185143"/>
              <a:gd name="connsiteY47" fmla="*/ 0 h 207458"/>
              <a:gd name="connsiteX48" fmla="*/ 69225 w 1185143"/>
              <a:gd name="connsiteY48" fmla="*/ 0 h 207458"/>
              <a:gd name="connsiteX49" fmla="*/ 190328 w 1185143"/>
              <a:gd name="connsiteY49" fmla="*/ 207458 h 207458"/>
              <a:gd name="connsiteX50" fmla="*/ 242206 w 1185143"/>
              <a:gd name="connsiteY50" fmla="*/ 207458 h 207458"/>
              <a:gd name="connsiteX51" fmla="*/ 242206 w 1185143"/>
              <a:gd name="connsiteY51" fmla="*/ 0 h 207458"/>
              <a:gd name="connsiteX52" fmla="*/ 190328 w 1185143"/>
              <a:gd name="connsiteY52" fmla="*/ 0 h 207458"/>
              <a:gd name="connsiteX53" fmla="*/ 190328 w 1185143"/>
              <a:gd name="connsiteY53" fmla="*/ 207458 h 207458"/>
              <a:gd name="connsiteX54" fmla="*/ 328615 w 1185143"/>
              <a:gd name="connsiteY54" fmla="*/ 0 h 207458"/>
              <a:gd name="connsiteX55" fmla="*/ 328615 w 1185143"/>
              <a:gd name="connsiteY55" fmla="*/ 207458 h 207458"/>
              <a:gd name="connsiteX56" fmla="*/ 380493 w 1185143"/>
              <a:gd name="connsiteY56" fmla="*/ 207458 h 207458"/>
              <a:gd name="connsiteX57" fmla="*/ 380493 w 1185143"/>
              <a:gd name="connsiteY57" fmla="*/ 103756 h 207458"/>
              <a:gd name="connsiteX58" fmla="*/ 415295 w 1185143"/>
              <a:gd name="connsiteY58" fmla="*/ 103756 h 207458"/>
              <a:gd name="connsiteX59" fmla="*/ 415295 w 1185143"/>
              <a:gd name="connsiteY59" fmla="*/ 172981 h 207458"/>
              <a:gd name="connsiteX60" fmla="*/ 432641 w 1185143"/>
              <a:gd name="connsiteY60" fmla="*/ 207458 h 207458"/>
              <a:gd name="connsiteX61" fmla="*/ 553798 w 1185143"/>
              <a:gd name="connsiteY61" fmla="*/ 207458 h 207458"/>
              <a:gd name="connsiteX62" fmla="*/ 553798 w 1185143"/>
              <a:gd name="connsiteY62" fmla="*/ 103756 h 207458"/>
              <a:gd name="connsiteX63" fmla="*/ 579737 w 1185143"/>
              <a:gd name="connsiteY63" fmla="*/ 103756 h 207458"/>
              <a:gd name="connsiteX64" fmla="*/ 579737 w 1185143"/>
              <a:gd name="connsiteY64" fmla="*/ 207458 h 207458"/>
              <a:gd name="connsiteX65" fmla="*/ 631561 w 1185143"/>
              <a:gd name="connsiteY65" fmla="*/ 207458 h 207458"/>
              <a:gd name="connsiteX66" fmla="*/ 631561 w 1185143"/>
              <a:gd name="connsiteY66" fmla="*/ 103756 h 207458"/>
              <a:gd name="connsiteX67" fmla="*/ 657555 w 1185143"/>
              <a:gd name="connsiteY67" fmla="*/ 103756 h 207458"/>
              <a:gd name="connsiteX68" fmla="*/ 657555 w 1185143"/>
              <a:gd name="connsiteY68" fmla="*/ 207458 h 207458"/>
              <a:gd name="connsiteX69" fmla="*/ 709433 w 1185143"/>
              <a:gd name="connsiteY69" fmla="*/ 207458 h 207458"/>
              <a:gd name="connsiteX70" fmla="*/ 709433 w 1185143"/>
              <a:gd name="connsiteY70" fmla="*/ 103756 h 207458"/>
              <a:gd name="connsiteX71" fmla="*/ 735372 w 1185143"/>
              <a:gd name="connsiteY71" fmla="*/ 103756 h 207458"/>
              <a:gd name="connsiteX72" fmla="*/ 735372 w 1185143"/>
              <a:gd name="connsiteY72" fmla="*/ 69225 h 207458"/>
              <a:gd name="connsiteX73" fmla="*/ 709433 w 1185143"/>
              <a:gd name="connsiteY73" fmla="*/ 69225 h 207458"/>
              <a:gd name="connsiteX74" fmla="*/ 709433 w 1185143"/>
              <a:gd name="connsiteY74" fmla="*/ 34477 h 207458"/>
              <a:gd name="connsiteX75" fmla="*/ 657555 w 1185143"/>
              <a:gd name="connsiteY75" fmla="*/ 34477 h 207458"/>
              <a:gd name="connsiteX76" fmla="*/ 657555 w 1185143"/>
              <a:gd name="connsiteY76" fmla="*/ 69225 h 207458"/>
              <a:gd name="connsiteX77" fmla="*/ 631561 w 1185143"/>
              <a:gd name="connsiteY77" fmla="*/ 69225 h 207458"/>
              <a:gd name="connsiteX78" fmla="*/ 631561 w 1185143"/>
              <a:gd name="connsiteY78" fmla="*/ 34477 h 207458"/>
              <a:gd name="connsiteX79" fmla="*/ 579737 w 1185143"/>
              <a:gd name="connsiteY79" fmla="*/ 34477 h 207458"/>
              <a:gd name="connsiteX80" fmla="*/ 579737 w 1185143"/>
              <a:gd name="connsiteY80" fmla="*/ 69225 h 207458"/>
              <a:gd name="connsiteX81" fmla="*/ 501650 w 1185143"/>
              <a:gd name="connsiteY81" fmla="*/ 69225 h 207458"/>
              <a:gd name="connsiteX82" fmla="*/ 501650 w 1185143"/>
              <a:gd name="connsiteY82" fmla="*/ 172927 h 207458"/>
              <a:gd name="connsiteX83" fmla="*/ 467173 w 1185143"/>
              <a:gd name="connsiteY83" fmla="*/ 172927 h 207458"/>
              <a:gd name="connsiteX84" fmla="*/ 467173 w 1185143"/>
              <a:gd name="connsiteY84" fmla="*/ 69225 h 207458"/>
              <a:gd name="connsiteX85" fmla="*/ 380547 w 1185143"/>
              <a:gd name="connsiteY85" fmla="*/ 69225 h 207458"/>
              <a:gd name="connsiteX86" fmla="*/ 380547 w 1185143"/>
              <a:gd name="connsiteY86" fmla="*/ 34477 h 207458"/>
              <a:gd name="connsiteX87" fmla="*/ 467173 w 1185143"/>
              <a:gd name="connsiteY87" fmla="*/ 34477 h 207458"/>
              <a:gd name="connsiteX88" fmla="*/ 467173 w 1185143"/>
              <a:gd name="connsiteY88" fmla="*/ 0 h 207458"/>
              <a:gd name="connsiteX89" fmla="*/ 328669 w 1185143"/>
              <a:gd name="connsiteY89" fmla="*/ 0 h 207458"/>
              <a:gd name="connsiteX90" fmla="*/ 899760 w 1185143"/>
              <a:gd name="connsiteY90" fmla="*/ 34477 h 207458"/>
              <a:gd name="connsiteX91" fmla="*/ 951692 w 1185143"/>
              <a:gd name="connsiteY91" fmla="*/ 34477 h 207458"/>
              <a:gd name="connsiteX92" fmla="*/ 951692 w 1185143"/>
              <a:gd name="connsiteY92" fmla="*/ 0 h 207458"/>
              <a:gd name="connsiteX93" fmla="*/ 899760 w 1185143"/>
              <a:gd name="connsiteY93" fmla="*/ 0 h 207458"/>
              <a:gd name="connsiteX94" fmla="*/ 899760 w 1185143"/>
              <a:gd name="connsiteY94" fmla="*/ 34477 h 2074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</a:cxnLst>
            <a:rect l="l" t="t" r="r" b="b"/>
            <a:pathLst>
              <a:path w="1185143" h="207458">
                <a:moveTo>
                  <a:pt x="259606" y="138234"/>
                </a:moveTo>
                <a:lnTo>
                  <a:pt x="311539" y="138234"/>
                </a:lnTo>
                <a:lnTo>
                  <a:pt x="311539" y="103486"/>
                </a:lnTo>
                <a:lnTo>
                  <a:pt x="259606" y="103486"/>
                </a:lnTo>
                <a:lnTo>
                  <a:pt x="259606" y="138234"/>
                </a:lnTo>
                <a:close/>
                <a:moveTo>
                  <a:pt x="787196" y="103756"/>
                </a:moveTo>
                <a:lnTo>
                  <a:pt x="821943" y="103756"/>
                </a:lnTo>
                <a:lnTo>
                  <a:pt x="821943" y="172981"/>
                </a:lnTo>
                <a:lnTo>
                  <a:pt x="787196" y="172981"/>
                </a:lnTo>
                <a:lnTo>
                  <a:pt x="787196" y="103756"/>
                </a:lnTo>
                <a:close/>
                <a:moveTo>
                  <a:pt x="752718" y="69225"/>
                </a:moveTo>
                <a:lnTo>
                  <a:pt x="735318" y="103756"/>
                </a:lnTo>
                <a:lnTo>
                  <a:pt x="735318" y="172981"/>
                </a:lnTo>
                <a:lnTo>
                  <a:pt x="752718" y="207458"/>
                </a:lnTo>
                <a:lnTo>
                  <a:pt x="873821" y="207458"/>
                </a:lnTo>
                <a:lnTo>
                  <a:pt x="873821" y="69225"/>
                </a:lnTo>
                <a:lnTo>
                  <a:pt x="752718" y="69225"/>
                </a:lnTo>
                <a:close/>
                <a:moveTo>
                  <a:pt x="977577" y="69225"/>
                </a:moveTo>
                <a:lnTo>
                  <a:pt x="977577" y="207458"/>
                </a:lnTo>
                <a:lnTo>
                  <a:pt x="1029455" y="207458"/>
                </a:lnTo>
                <a:lnTo>
                  <a:pt x="1029455" y="103756"/>
                </a:lnTo>
                <a:lnTo>
                  <a:pt x="1055394" y="103756"/>
                </a:lnTo>
                <a:lnTo>
                  <a:pt x="1055394" y="207458"/>
                </a:lnTo>
                <a:lnTo>
                  <a:pt x="1107273" y="207458"/>
                </a:lnTo>
                <a:lnTo>
                  <a:pt x="1107273" y="103756"/>
                </a:lnTo>
                <a:lnTo>
                  <a:pt x="1133266" y="103756"/>
                </a:lnTo>
                <a:lnTo>
                  <a:pt x="1133266" y="207458"/>
                </a:lnTo>
                <a:lnTo>
                  <a:pt x="1185144" y="207458"/>
                </a:lnTo>
                <a:lnTo>
                  <a:pt x="1185144" y="103756"/>
                </a:lnTo>
                <a:lnTo>
                  <a:pt x="1168013" y="69225"/>
                </a:lnTo>
                <a:lnTo>
                  <a:pt x="977631" y="69225"/>
                </a:lnTo>
                <a:close/>
                <a:moveTo>
                  <a:pt x="899760" y="207458"/>
                </a:moveTo>
                <a:lnTo>
                  <a:pt x="951692" y="207458"/>
                </a:lnTo>
                <a:lnTo>
                  <a:pt x="951692" y="69225"/>
                </a:lnTo>
                <a:lnTo>
                  <a:pt x="899760" y="69009"/>
                </a:lnTo>
                <a:lnTo>
                  <a:pt x="899760" y="207458"/>
                </a:lnTo>
                <a:close/>
                <a:moveTo>
                  <a:pt x="112565" y="34477"/>
                </a:moveTo>
                <a:lnTo>
                  <a:pt x="112565" y="103756"/>
                </a:lnTo>
                <a:lnTo>
                  <a:pt x="86355" y="103756"/>
                </a:lnTo>
                <a:lnTo>
                  <a:pt x="112565" y="34477"/>
                </a:lnTo>
                <a:close/>
                <a:moveTo>
                  <a:pt x="69225" y="0"/>
                </a:moveTo>
                <a:lnTo>
                  <a:pt x="0" y="207458"/>
                </a:lnTo>
                <a:lnTo>
                  <a:pt x="51878" y="207458"/>
                </a:lnTo>
                <a:lnTo>
                  <a:pt x="77817" y="138450"/>
                </a:lnTo>
                <a:lnTo>
                  <a:pt x="112565" y="138450"/>
                </a:lnTo>
                <a:lnTo>
                  <a:pt x="112565" y="207458"/>
                </a:lnTo>
                <a:lnTo>
                  <a:pt x="164443" y="207458"/>
                </a:lnTo>
                <a:lnTo>
                  <a:pt x="164443" y="0"/>
                </a:lnTo>
                <a:lnTo>
                  <a:pt x="69225" y="0"/>
                </a:lnTo>
                <a:close/>
                <a:moveTo>
                  <a:pt x="190328" y="207458"/>
                </a:moveTo>
                <a:lnTo>
                  <a:pt x="242206" y="207458"/>
                </a:lnTo>
                <a:lnTo>
                  <a:pt x="242206" y="0"/>
                </a:lnTo>
                <a:lnTo>
                  <a:pt x="190328" y="0"/>
                </a:lnTo>
                <a:lnTo>
                  <a:pt x="190328" y="207458"/>
                </a:lnTo>
                <a:close/>
                <a:moveTo>
                  <a:pt x="328615" y="0"/>
                </a:moveTo>
                <a:lnTo>
                  <a:pt x="328615" y="207458"/>
                </a:lnTo>
                <a:lnTo>
                  <a:pt x="380493" y="207458"/>
                </a:lnTo>
                <a:lnTo>
                  <a:pt x="380493" y="103756"/>
                </a:lnTo>
                <a:lnTo>
                  <a:pt x="415295" y="103756"/>
                </a:lnTo>
                <a:lnTo>
                  <a:pt x="415295" y="172981"/>
                </a:lnTo>
                <a:lnTo>
                  <a:pt x="432641" y="207458"/>
                </a:lnTo>
                <a:lnTo>
                  <a:pt x="553798" y="207458"/>
                </a:lnTo>
                <a:lnTo>
                  <a:pt x="553798" y="103756"/>
                </a:lnTo>
                <a:lnTo>
                  <a:pt x="579737" y="103756"/>
                </a:lnTo>
                <a:lnTo>
                  <a:pt x="579737" y="207458"/>
                </a:lnTo>
                <a:lnTo>
                  <a:pt x="631561" y="207458"/>
                </a:lnTo>
                <a:lnTo>
                  <a:pt x="631561" y="103756"/>
                </a:lnTo>
                <a:lnTo>
                  <a:pt x="657555" y="103756"/>
                </a:lnTo>
                <a:lnTo>
                  <a:pt x="657555" y="207458"/>
                </a:lnTo>
                <a:lnTo>
                  <a:pt x="709433" y="207458"/>
                </a:lnTo>
                <a:lnTo>
                  <a:pt x="709433" y="103756"/>
                </a:lnTo>
                <a:lnTo>
                  <a:pt x="735372" y="103756"/>
                </a:lnTo>
                <a:lnTo>
                  <a:pt x="735372" y="69225"/>
                </a:lnTo>
                <a:lnTo>
                  <a:pt x="709433" y="69225"/>
                </a:lnTo>
                <a:lnTo>
                  <a:pt x="709433" y="34477"/>
                </a:lnTo>
                <a:lnTo>
                  <a:pt x="657555" y="34477"/>
                </a:lnTo>
                <a:lnTo>
                  <a:pt x="657555" y="69225"/>
                </a:lnTo>
                <a:lnTo>
                  <a:pt x="631561" y="69225"/>
                </a:lnTo>
                <a:lnTo>
                  <a:pt x="631561" y="34477"/>
                </a:lnTo>
                <a:lnTo>
                  <a:pt x="579737" y="34477"/>
                </a:lnTo>
                <a:lnTo>
                  <a:pt x="579737" y="69225"/>
                </a:lnTo>
                <a:lnTo>
                  <a:pt x="501650" y="69225"/>
                </a:lnTo>
                <a:lnTo>
                  <a:pt x="501650" y="172927"/>
                </a:lnTo>
                <a:lnTo>
                  <a:pt x="467173" y="172927"/>
                </a:lnTo>
                <a:lnTo>
                  <a:pt x="467173" y="69225"/>
                </a:lnTo>
                <a:lnTo>
                  <a:pt x="380547" y="69225"/>
                </a:lnTo>
                <a:lnTo>
                  <a:pt x="380547" y="34477"/>
                </a:lnTo>
                <a:lnTo>
                  <a:pt x="467173" y="34477"/>
                </a:lnTo>
                <a:lnTo>
                  <a:pt x="467173" y="0"/>
                </a:lnTo>
                <a:lnTo>
                  <a:pt x="328669" y="0"/>
                </a:lnTo>
                <a:close/>
                <a:moveTo>
                  <a:pt x="899760" y="34477"/>
                </a:moveTo>
                <a:lnTo>
                  <a:pt x="951692" y="34477"/>
                </a:lnTo>
                <a:lnTo>
                  <a:pt x="951692" y="0"/>
                </a:lnTo>
                <a:lnTo>
                  <a:pt x="899760" y="0"/>
                </a:lnTo>
                <a:lnTo>
                  <a:pt x="899760" y="34477"/>
                </a:lnTo>
                <a:close/>
              </a:path>
            </a:pathLst>
          </a:custGeom>
          <a:solidFill>
            <a:schemeClr val="bg1"/>
          </a:solidFill>
          <a:ln w="5382" cap="flat">
            <a:noFill/>
            <a:prstDash val="solid"/>
            <a:miter/>
          </a:ln>
        </p:spPr>
        <p:txBody>
          <a:bodyPr rtlCol="0" anchor="ctr"/>
          <a:lstStyle/>
          <a:p>
            <a:endParaRPr lang="en-US" dirty="0"/>
          </a:p>
        </p:txBody>
      </p:sp>
      <p:sp>
        <p:nvSpPr>
          <p:cNvPr id="18" name="Freeform: Shape 17">
            <a:extLst>
              <a:ext uri="{FF2B5EF4-FFF2-40B4-BE49-F238E27FC236}">
                <a16:creationId xmlns:a16="http://schemas.microsoft.com/office/drawing/2014/main" id="{23B3ADD2-B7B2-47A7-DF0B-4995540F41E0}"/>
              </a:ext>
            </a:extLst>
          </p:cNvPr>
          <p:cNvSpPr>
            <a:spLocks/>
          </p:cNvSpPr>
          <p:nvPr/>
        </p:nvSpPr>
        <p:spPr bwMode="black">
          <a:xfrm>
            <a:off x="3347197" y="853208"/>
            <a:ext cx="873889" cy="764057"/>
          </a:xfrm>
          <a:custGeom>
            <a:avLst/>
            <a:gdLst>
              <a:gd name="connsiteX0" fmla="*/ 156175 w 415348"/>
              <a:gd name="connsiteY0" fmla="*/ 155526 h 363146"/>
              <a:gd name="connsiteX1" fmla="*/ 207782 w 415348"/>
              <a:gd name="connsiteY1" fmla="*/ 103864 h 363146"/>
              <a:gd name="connsiteX2" fmla="*/ 259390 w 415348"/>
              <a:gd name="connsiteY2" fmla="*/ 155526 h 363146"/>
              <a:gd name="connsiteX3" fmla="*/ 207782 w 415348"/>
              <a:gd name="connsiteY3" fmla="*/ 207296 h 363146"/>
              <a:gd name="connsiteX4" fmla="*/ 156175 w 415348"/>
              <a:gd name="connsiteY4" fmla="*/ 155526 h 363146"/>
              <a:gd name="connsiteX5" fmla="*/ 207782 w 415348"/>
              <a:gd name="connsiteY5" fmla="*/ 0 h 363146"/>
              <a:gd name="connsiteX6" fmla="*/ 0 w 415348"/>
              <a:gd name="connsiteY6" fmla="*/ 207350 h 363146"/>
              <a:gd name="connsiteX7" fmla="*/ 51986 w 415348"/>
              <a:gd name="connsiteY7" fmla="*/ 259228 h 363146"/>
              <a:gd name="connsiteX8" fmla="*/ 104134 w 415348"/>
              <a:gd name="connsiteY8" fmla="*/ 207512 h 363146"/>
              <a:gd name="connsiteX9" fmla="*/ 155904 w 415348"/>
              <a:gd name="connsiteY9" fmla="*/ 259499 h 363146"/>
              <a:gd name="connsiteX10" fmla="*/ 103810 w 415348"/>
              <a:gd name="connsiteY10" fmla="*/ 311593 h 363146"/>
              <a:gd name="connsiteX11" fmla="*/ 155904 w 415348"/>
              <a:gd name="connsiteY11" fmla="*/ 363147 h 363146"/>
              <a:gd name="connsiteX12" fmla="*/ 206810 w 415348"/>
              <a:gd name="connsiteY12" fmla="*/ 311431 h 363146"/>
              <a:gd name="connsiteX13" fmla="*/ 259823 w 415348"/>
              <a:gd name="connsiteY13" fmla="*/ 363147 h 363146"/>
              <a:gd name="connsiteX14" fmla="*/ 311485 w 415348"/>
              <a:gd name="connsiteY14" fmla="*/ 311431 h 363146"/>
              <a:gd name="connsiteX15" fmla="*/ 259823 w 415348"/>
              <a:gd name="connsiteY15" fmla="*/ 259769 h 363146"/>
              <a:gd name="connsiteX16" fmla="*/ 312025 w 415348"/>
              <a:gd name="connsiteY16" fmla="*/ 207512 h 363146"/>
              <a:gd name="connsiteX17" fmla="*/ 363633 w 415348"/>
              <a:gd name="connsiteY17" fmla="*/ 259228 h 363146"/>
              <a:gd name="connsiteX18" fmla="*/ 415349 w 415348"/>
              <a:gd name="connsiteY18" fmla="*/ 207512 h 363146"/>
              <a:gd name="connsiteX19" fmla="*/ 207782 w 415348"/>
              <a:gd name="connsiteY19" fmla="*/ 0 h 3631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415348" h="363146">
                <a:moveTo>
                  <a:pt x="156175" y="155526"/>
                </a:moveTo>
                <a:lnTo>
                  <a:pt x="207782" y="103864"/>
                </a:lnTo>
                <a:lnTo>
                  <a:pt x="259390" y="155526"/>
                </a:lnTo>
                <a:lnTo>
                  <a:pt x="207782" y="207296"/>
                </a:lnTo>
                <a:lnTo>
                  <a:pt x="156175" y="155526"/>
                </a:lnTo>
                <a:close/>
                <a:moveTo>
                  <a:pt x="207782" y="0"/>
                </a:moveTo>
                <a:lnTo>
                  <a:pt x="0" y="207350"/>
                </a:lnTo>
                <a:lnTo>
                  <a:pt x="51986" y="259228"/>
                </a:lnTo>
                <a:lnTo>
                  <a:pt x="104134" y="207512"/>
                </a:lnTo>
                <a:lnTo>
                  <a:pt x="155904" y="259499"/>
                </a:lnTo>
                <a:lnTo>
                  <a:pt x="103810" y="311593"/>
                </a:lnTo>
                <a:lnTo>
                  <a:pt x="155904" y="363147"/>
                </a:lnTo>
                <a:lnTo>
                  <a:pt x="206810" y="311431"/>
                </a:lnTo>
                <a:lnTo>
                  <a:pt x="259823" y="363147"/>
                </a:lnTo>
                <a:lnTo>
                  <a:pt x="311485" y="311431"/>
                </a:lnTo>
                <a:lnTo>
                  <a:pt x="259823" y="259769"/>
                </a:lnTo>
                <a:lnTo>
                  <a:pt x="312025" y="207512"/>
                </a:lnTo>
                <a:lnTo>
                  <a:pt x="363633" y="259228"/>
                </a:lnTo>
                <a:lnTo>
                  <a:pt x="415349" y="207512"/>
                </a:lnTo>
                <a:lnTo>
                  <a:pt x="207782" y="0"/>
                </a:lnTo>
                <a:close/>
              </a:path>
            </a:pathLst>
          </a:custGeom>
          <a:solidFill>
            <a:schemeClr val="accent2"/>
          </a:solidFill>
          <a:ln w="5382" cap="flat">
            <a:noFill/>
            <a:prstDash val="solid"/>
            <a:miter/>
          </a:ln>
        </p:spPr>
        <p:txBody>
          <a:bodyPr rtlCol="0" anchor="ctr"/>
          <a:lstStyle/>
          <a:p>
            <a:endParaRPr lang="en-US" dirty="0"/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C5AEDEE7-6139-A3E5-0EEB-3CA889D93948}"/>
              </a:ext>
            </a:extLst>
          </p:cNvPr>
          <p:cNvGrpSpPr/>
          <p:nvPr userDrawn="1"/>
        </p:nvGrpSpPr>
        <p:grpSpPr bwMode="black">
          <a:xfrm>
            <a:off x="4535003" y="1051336"/>
            <a:ext cx="2089689" cy="458152"/>
            <a:chOff x="4668001" y="1061496"/>
            <a:chExt cx="2089689" cy="458152"/>
          </a:xfrm>
          <a:solidFill>
            <a:schemeClr val="bg1"/>
          </a:solidFill>
        </p:grpSpPr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260A75C9-C33F-F1B4-B027-9CA6362EC936}"/>
                </a:ext>
              </a:extLst>
            </p:cNvPr>
            <p:cNvSpPr/>
            <p:nvPr/>
          </p:nvSpPr>
          <p:spPr bwMode="black">
            <a:xfrm>
              <a:off x="6666155" y="1061496"/>
              <a:ext cx="91535" cy="366141"/>
            </a:xfrm>
            <a:custGeom>
              <a:avLst/>
              <a:gdLst>
                <a:gd name="connsiteX0" fmla="*/ 0 w 91535"/>
                <a:gd name="connsiteY0" fmla="*/ 0 h 366141"/>
                <a:gd name="connsiteX1" fmla="*/ 91535 w 91535"/>
                <a:gd name="connsiteY1" fmla="*/ 0 h 366141"/>
                <a:gd name="connsiteX2" fmla="*/ 91535 w 91535"/>
                <a:gd name="connsiteY2" fmla="*/ 366141 h 366141"/>
                <a:gd name="connsiteX3" fmla="*/ 0 w 91535"/>
                <a:gd name="connsiteY3" fmla="*/ 366141 h 366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1535" h="366141">
                  <a:moveTo>
                    <a:pt x="0" y="0"/>
                  </a:moveTo>
                  <a:lnTo>
                    <a:pt x="91535" y="0"/>
                  </a:lnTo>
                  <a:lnTo>
                    <a:pt x="91535" y="366141"/>
                  </a:lnTo>
                  <a:lnTo>
                    <a:pt x="0" y="36614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6DDB4EAB-7657-1478-B192-F9D2CB024DAE}"/>
                </a:ext>
              </a:extLst>
            </p:cNvPr>
            <p:cNvSpPr/>
            <p:nvPr/>
          </p:nvSpPr>
          <p:spPr bwMode="black">
            <a:xfrm>
              <a:off x="6178094" y="1092452"/>
              <a:ext cx="91439" cy="60960"/>
            </a:xfrm>
            <a:custGeom>
              <a:avLst/>
              <a:gdLst>
                <a:gd name="connsiteX0" fmla="*/ 0 w 91439"/>
                <a:gd name="connsiteY0" fmla="*/ 0 h 60960"/>
                <a:gd name="connsiteX1" fmla="*/ 91440 w 91439"/>
                <a:gd name="connsiteY1" fmla="*/ 0 h 60960"/>
                <a:gd name="connsiteX2" fmla="*/ 91440 w 91439"/>
                <a:gd name="connsiteY2" fmla="*/ 60960 h 60960"/>
                <a:gd name="connsiteX3" fmla="*/ 0 w 91439"/>
                <a:gd name="connsiteY3" fmla="*/ 60960 h 609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1439" h="60960">
                  <a:moveTo>
                    <a:pt x="0" y="0"/>
                  </a:moveTo>
                  <a:lnTo>
                    <a:pt x="91440" y="0"/>
                  </a:lnTo>
                  <a:lnTo>
                    <a:pt x="91440" y="60960"/>
                  </a:lnTo>
                  <a:lnTo>
                    <a:pt x="0" y="6096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5B733183-CCDF-16AA-5012-9CBA5B443389}"/>
                </a:ext>
              </a:extLst>
            </p:cNvPr>
            <p:cNvSpPr/>
            <p:nvPr/>
          </p:nvSpPr>
          <p:spPr bwMode="black">
            <a:xfrm>
              <a:off x="4668001" y="1061496"/>
              <a:ext cx="1952339" cy="458152"/>
            </a:xfrm>
            <a:custGeom>
              <a:avLst/>
              <a:gdLst>
                <a:gd name="connsiteX0" fmla="*/ 274511 w 1952339"/>
                <a:gd name="connsiteY0" fmla="*/ 274987 h 458152"/>
                <a:gd name="connsiteX1" fmla="*/ 335566 w 1952339"/>
                <a:gd name="connsiteY1" fmla="*/ 274987 h 458152"/>
                <a:gd name="connsiteX2" fmla="*/ 335566 w 1952339"/>
                <a:gd name="connsiteY2" fmla="*/ 397097 h 458152"/>
                <a:gd name="connsiteX3" fmla="*/ 274511 w 1952339"/>
                <a:gd name="connsiteY3" fmla="*/ 397097 h 458152"/>
                <a:gd name="connsiteX4" fmla="*/ 274511 w 1952339"/>
                <a:gd name="connsiteY4" fmla="*/ 274987 h 458152"/>
                <a:gd name="connsiteX5" fmla="*/ 1525334 w 1952339"/>
                <a:gd name="connsiteY5" fmla="*/ 183452 h 458152"/>
                <a:gd name="connsiteX6" fmla="*/ 1586293 w 1952339"/>
                <a:gd name="connsiteY6" fmla="*/ 183452 h 458152"/>
                <a:gd name="connsiteX7" fmla="*/ 1586293 w 1952339"/>
                <a:gd name="connsiteY7" fmla="*/ 305467 h 458152"/>
                <a:gd name="connsiteX8" fmla="*/ 1525334 w 1952339"/>
                <a:gd name="connsiteY8" fmla="*/ 305467 h 458152"/>
                <a:gd name="connsiteX9" fmla="*/ 1525334 w 1952339"/>
                <a:gd name="connsiteY9" fmla="*/ 183452 h 458152"/>
                <a:gd name="connsiteX10" fmla="*/ 1860899 w 1952339"/>
                <a:gd name="connsiteY10" fmla="*/ 0 h 458152"/>
                <a:gd name="connsiteX11" fmla="*/ 1860899 w 1952339"/>
                <a:gd name="connsiteY11" fmla="*/ 305086 h 458152"/>
                <a:gd name="connsiteX12" fmla="*/ 1677829 w 1952339"/>
                <a:gd name="connsiteY12" fmla="*/ 305086 h 458152"/>
                <a:gd name="connsiteX13" fmla="*/ 1677829 w 1952339"/>
                <a:gd name="connsiteY13" fmla="*/ 183452 h 458152"/>
                <a:gd name="connsiteX14" fmla="*/ 1647349 w 1952339"/>
                <a:gd name="connsiteY14" fmla="*/ 122396 h 458152"/>
                <a:gd name="connsiteX15" fmla="*/ 1433798 w 1952339"/>
                <a:gd name="connsiteY15" fmla="*/ 122396 h 458152"/>
                <a:gd name="connsiteX16" fmla="*/ 1433798 w 1952339"/>
                <a:gd name="connsiteY16" fmla="*/ 305372 h 458152"/>
                <a:gd name="connsiteX17" fmla="*/ 1250823 w 1952339"/>
                <a:gd name="connsiteY17" fmla="*/ 305372 h 458152"/>
                <a:gd name="connsiteX18" fmla="*/ 1250823 w 1952339"/>
                <a:gd name="connsiteY18" fmla="*/ 183356 h 458152"/>
                <a:gd name="connsiteX19" fmla="*/ 1220343 w 1952339"/>
                <a:gd name="connsiteY19" fmla="*/ 122301 h 458152"/>
                <a:gd name="connsiteX20" fmla="*/ 1006697 w 1952339"/>
                <a:gd name="connsiteY20" fmla="*/ 122301 h 458152"/>
                <a:gd name="connsiteX21" fmla="*/ 1006697 w 1952339"/>
                <a:gd name="connsiteY21" fmla="*/ 191 h 458152"/>
                <a:gd name="connsiteX22" fmla="*/ 915257 w 1952339"/>
                <a:gd name="connsiteY22" fmla="*/ 191 h 458152"/>
                <a:gd name="connsiteX23" fmla="*/ 915257 w 1952339"/>
                <a:gd name="connsiteY23" fmla="*/ 274987 h 458152"/>
                <a:gd name="connsiteX24" fmla="*/ 1006697 w 1952339"/>
                <a:gd name="connsiteY24" fmla="*/ 274987 h 458152"/>
                <a:gd name="connsiteX25" fmla="*/ 1006697 w 1952339"/>
                <a:gd name="connsiteY25" fmla="*/ 183452 h 458152"/>
                <a:gd name="connsiteX26" fmla="*/ 1159383 w 1952339"/>
                <a:gd name="connsiteY26" fmla="*/ 183452 h 458152"/>
                <a:gd name="connsiteX27" fmla="*/ 1159383 w 1952339"/>
                <a:gd name="connsiteY27" fmla="*/ 305467 h 458152"/>
                <a:gd name="connsiteX28" fmla="*/ 732282 w 1952339"/>
                <a:gd name="connsiteY28" fmla="*/ 305467 h 458152"/>
                <a:gd name="connsiteX29" fmla="*/ 732282 w 1952339"/>
                <a:gd name="connsiteY29" fmla="*/ 182975 h 458152"/>
                <a:gd name="connsiteX30" fmla="*/ 640747 w 1952339"/>
                <a:gd name="connsiteY30" fmla="*/ 182975 h 458152"/>
                <a:gd name="connsiteX31" fmla="*/ 640747 w 1952339"/>
                <a:gd name="connsiteY31" fmla="*/ 305467 h 458152"/>
                <a:gd name="connsiteX32" fmla="*/ 427196 w 1952339"/>
                <a:gd name="connsiteY32" fmla="*/ 305467 h 458152"/>
                <a:gd name="connsiteX33" fmla="*/ 427196 w 1952339"/>
                <a:gd name="connsiteY33" fmla="*/ 274987 h 458152"/>
                <a:gd name="connsiteX34" fmla="*/ 396621 w 1952339"/>
                <a:gd name="connsiteY34" fmla="*/ 214027 h 458152"/>
                <a:gd name="connsiteX35" fmla="*/ 183071 w 1952339"/>
                <a:gd name="connsiteY35" fmla="*/ 214027 h 458152"/>
                <a:gd name="connsiteX36" fmla="*/ 183071 w 1952339"/>
                <a:gd name="connsiteY36" fmla="*/ 305562 h 458152"/>
                <a:gd name="connsiteX37" fmla="*/ 0 w 1952339"/>
                <a:gd name="connsiteY37" fmla="*/ 305562 h 458152"/>
                <a:gd name="connsiteX38" fmla="*/ 0 w 1952339"/>
                <a:gd name="connsiteY38" fmla="*/ 366141 h 458152"/>
                <a:gd name="connsiteX39" fmla="*/ 182975 w 1952339"/>
                <a:gd name="connsiteY39" fmla="*/ 366141 h 458152"/>
                <a:gd name="connsiteX40" fmla="*/ 182975 w 1952339"/>
                <a:gd name="connsiteY40" fmla="*/ 397097 h 458152"/>
                <a:gd name="connsiteX41" fmla="*/ 213455 w 1952339"/>
                <a:gd name="connsiteY41" fmla="*/ 458153 h 458152"/>
                <a:gd name="connsiteX42" fmla="*/ 427006 w 1952339"/>
                <a:gd name="connsiteY42" fmla="*/ 458153 h 458152"/>
                <a:gd name="connsiteX43" fmla="*/ 427006 w 1952339"/>
                <a:gd name="connsiteY43" fmla="*/ 366046 h 458152"/>
                <a:gd name="connsiteX44" fmla="*/ 1921859 w 1952339"/>
                <a:gd name="connsiteY44" fmla="*/ 366046 h 458152"/>
                <a:gd name="connsiteX45" fmla="*/ 1952339 w 1952339"/>
                <a:gd name="connsiteY45" fmla="*/ 305181 h 458152"/>
                <a:gd name="connsiteX46" fmla="*/ 1952339 w 1952339"/>
                <a:gd name="connsiteY46" fmla="*/ 0 h 458152"/>
                <a:gd name="connsiteX47" fmla="*/ 1860804 w 1952339"/>
                <a:gd name="connsiteY47" fmla="*/ 0 h 4581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</a:cxnLst>
              <a:rect l="l" t="t" r="r" b="b"/>
              <a:pathLst>
                <a:path w="1952339" h="458152">
                  <a:moveTo>
                    <a:pt x="274511" y="274987"/>
                  </a:moveTo>
                  <a:lnTo>
                    <a:pt x="335566" y="274987"/>
                  </a:lnTo>
                  <a:lnTo>
                    <a:pt x="335566" y="397097"/>
                  </a:lnTo>
                  <a:lnTo>
                    <a:pt x="274511" y="397097"/>
                  </a:lnTo>
                  <a:lnTo>
                    <a:pt x="274511" y="274987"/>
                  </a:lnTo>
                  <a:close/>
                  <a:moveTo>
                    <a:pt x="1525334" y="183452"/>
                  </a:moveTo>
                  <a:lnTo>
                    <a:pt x="1586293" y="183452"/>
                  </a:lnTo>
                  <a:lnTo>
                    <a:pt x="1586293" y="305467"/>
                  </a:lnTo>
                  <a:lnTo>
                    <a:pt x="1525334" y="305467"/>
                  </a:lnTo>
                  <a:lnTo>
                    <a:pt x="1525334" y="183452"/>
                  </a:lnTo>
                  <a:close/>
                  <a:moveTo>
                    <a:pt x="1860899" y="0"/>
                  </a:moveTo>
                  <a:lnTo>
                    <a:pt x="1860899" y="305086"/>
                  </a:lnTo>
                  <a:lnTo>
                    <a:pt x="1677829" y="305086"/>
                  </a:lnTo>
                  <a:lnTo>
                    <a:pt x="1677829" y="183452"/>
                  </a:lnTo>
                  <a:lnTo>
                    <a:pt x="1647349" y="122396"/>
                  </a:lnTo>
                  <a:lnTo>
                    <a:pt x="1433798" y="122396"/>
                  </a:lnTo>
                  <a:lnTo>
                    <a:pt x="1433798" y="305372"/>
                  </a:lnTo>
                  <a:lnTo>
                    <a:pt x="1250823" y="305372"/>
                  </a:lnTo>
                  <a:lnTo>
                    <a:pt x="1250823" y="183356"/>
                  </a:lnTo>
                  <a:lnTo>
                    <a:pt x="1220343" y="122301"/>
                  </a:lnTo>
                  <a:lnTo>
                    <a:pt x="1006697" y="122301"/>
                  </a:lnTo>
                  <a:lnTo>
                    <a:pt x="1006697" y="191"/>
                  </a:lnTo>
                  <a:lnTo>
                    <a:pt x="915257" y="191"/>
                  </a:lnTo>
                  <a:lnTo>
                    <a:pt x="915257" y="274987"/>
                  </a:lnTo>
                  <a:lnTo>
                    <a:pt x="1006697" y="274987"/>
                  </a:lnTo>
                  <a:lnTo>
                    <a:pt x="1006697" y="183452"/>
                  </a:lnTo>
                  <a:lnTo>
                    <a:pt x="1159383" y="183452"/>
                  </a:lnTo>
                  <a:lnTo>
                    <a:pt x="1159383" y="305467"/>
                  </a:lnTo>
                  <a:lnTo>
                    <a:pt x="732282" y="305467"/>
                  </a:lnTo>
                  <a:lnTo>
                    <a:pt x="732282" y="182975"/>
                  </a:lnTo>
                  <a:lnTo>
                    <a:pt x="640747" y="182975"/>
                  </a:lnTo>
                  <a:lnTo>
                    <a:pt x="640747" y="305467"/>
                  </a:lnTo>
                  <a:lnTo>
                    <a:pt x="427196" y="305467"/>
                  </a:lnTo>
                  <a:lnTo>
                    <a:pt x="427196" y="274987"/>
                  </a:lnTo>
                  <a:lnTo>
                    <a:pt x="396621" y="214027"/>
                  </a:lnTo>
                  <a:lnTo>
                    <a:pt x="183071" y="214027"/>
                  </a:lnTo>
                  <a:lnTo>
                    <a:pt x="183071" y="305562"/>
                  </a:lnTo>
                  <a:lnTo>
                    <a:pt x="0" y="305562"/>
                  </a:lnTo>
                  <a:lnTo>
                    <a:pt x="0" y="366141"/>
                  </a:lnTo>
                  <a:lnTo>
                    <a:pt x="182975" y="366141"/>
                  </a:lnTo>
                  <a:cubicBezTo>
                    <a:pt x="182975" y="366141"/>
                    <a:pt x="182975" y="397097"/>
                    <a:pt x="182975" y="397097"/>
                  </a:cubicBezTo>
                  <a:lnTo>
                    <a:pt x="213455" y="458153"/>
                  </a:lnTo>
                  <a:lnTo>
                    <a:pt x="427006" y="458153"/>
                  </a:lnTo>
                  <a:lnTo>
                    <a:pt x="427006" y="366046"/>
                  </a:lnTo>
                  <a:lnTo>
                    <a:pt x="1921859" y="366046"/>
                  </a:lnTo>
                  <a:cubicBezTo>
                    <a:pt x="1921859" y="366046"/>
                    <a:pt x="1952339" y="305181"/>
                    <a:pt x="1952339" y="305181"/>
                  </a:cubicBezTo>
                  <a:lnTo>
                    <a:pt x="1952339" y="0"/>
                  </a:lnTo>
                  <a:lnTo>
                    <a:pt x="1860804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48472D19-4BEE-DDF9-4802-3B0FF5FD9444}"/>
                </a:ext>
              </a:extLst>
            </p:cNvPr>
            <p:cNvSpPr/>
            <p:nvPr/>
          </p:nvSpPr>
          <p:spPr bwMode="black">
            <a:xfrm>
              <a:off x="5369612" y="1458593"/>
              <a:ext cx="91535" cy="61055"/>
            </a:xfrm>
            <a:custGeom>
              <a:avLst/>
              <a:gdLst>
                <a:gd name="connsiteX0" fmla="*/ 0 w 91535"/>
                <a:gd name="connsiteY0" fmla="*/ 0 h 61055"/>
                <a:gd name="connsiteX1" fmla="*/ 91535 w 91535"/>
                <a:gd name="connsiteY1" fmla="*/ 0 h 61055"/>
                <a:gd name="connsiteX2" fmla="*/ 91535 w 91535"/>
                <a:gd name="connsiteY2" fmla="*/ 61055 h 61055"/>
                <a:gd name="connsiteX3" fmla="*/ 0 w 91535"/>
                <a:gd name="connsiteY3" fmla="*/ 61055 h 610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1535" h="61055">
                  <a:moveTo>
                    <a:pt x="0" y="0"/>
                  </a:moveTo>
                  <a:lnTo>
                    <a:pt x="91535" y="0"/>
                  </a:lnTo>
                  <a:lnTo>
                    <a:pt x="91535" y="61055"/>
                  </a:lnTo>
                  <a:lnTo>
                    <a:pt x="0" y="6105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5269D0F9-38E6-22C6-2DF3-4B96E6B7BBA6}"/>
                </a:ext>
              </a:extLst>
            </p:cNvPr>
            <p:cNvSpPr/>
            <p:nvPr/>
          </p:nvSpPr>
          <p:spPr bwMode="black">
            <a:xfrm>
              <a:off x="5247597" y="1458593"/>
              <a:ext cx="91535" cy="61055"/>
            </a:xfrm>
            <a:custGeom>
              <a:avLst/>
              <a:gdLst>
                <a:gd name="connsiteX0" fmla="*/ 0 w 91535"/>
                <a:gd name="connsiteY0" fmla="*/ 0 h 61055"/>
                <a:gd name="connsiteX1" fmla="*/ 91535 w 91535"/>
                <a:gd name="connsiteY1" fmla="*/ 0 h 61055"/>
                <a:gd name="connsiteX2" fmla="*/ 91535 w 91535"/>
                <a:gd name="connsiteY2" fmla="*/ 61055 h 61055"/>
                <a:gd name="connsiteX3" fmla="*/ 0 w 91535"/>
                <a:gd name="connsiteY3" fmla="*/ 61055 h 610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1535" h="61055">
                  <a:moveTo>
                    <a:pt x="0" y="0"/>
                  </a:moveTo>
                  <a:lnTo>
                    <a:pt x="91535" y="0"/>
                  </a:lnTo>
                  <a:lnTo>
                    <a:pt x="91535" y="61055"/>
                  </a:lnTo>
                  <a:lnTo>
                    <a:pt x="0" y="6105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5104976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orient="horz" pos="2500" userDrawn="1">
          <p15:clr>
            <a:srgbClr val="FBAE40"/>
          </p15:clr>
        </p15:guide>
        <p15:guide id="4" orient="horz" pos="2329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Page bilingual_l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DF0B494-BA15-F2B4-DAD3-A3B2AF6C73B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39748" y="1875367"/>
            <a:ext cx="11112502" cy="1821921"/>
          </a:xfrm>
        </p:spPr>
        <p:txBody>
          <a:bodyPr anchor="b">
            <a:noAutofit/>
          </a:bodyPr>
          <a:lstStyle>
            <a:lvl1pPr algn="l">
              <a:defRPr sz="54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ease insert a Tit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8D95B62-3DC6-BA29-E15A-17D867C811E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39748" y="3970338"/>
            <a:ext cx="11112502" cy="942022"/>
          </a:xfrm>
        </p:spPr>
        <p:txBody>
          <a:bodyPr>
            <a:noAutofit/>
          </a:bodyPr>
          <a:lstStyle>
            <a:lvl1pPr marL="0" indent="0" algn="l">
              <a:buNone/>
              <a:defRPr sz="2800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Division/Trading Entity Name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5F8D7363-2FCC-9FA4-5689-CD0AE7825CD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39749" y="5858230"/>
            <a:ext cx="5556251" cy="184666"/>
          </a:xfrm>
        </p:spPr>
        <p:txBody>
          <a:bodyPr anchor="b">
            <a:spAutoFit/>
          </a:bodyPr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Date</a:t>
            </a:r>
          </a:p>
        </p:txBody>
      </p:sp>
      <p:sp>
        <p:nvSpPr>
          <p:cNvPr id="18" name="Freeform: Shape 17">
            <a:extLst>
              <a:ext uri="{FF2B5EF4-FFF2-40B4-BE49-F238E27FC236}">
                <a16:creationId xmlns:a16="http://schemas.microsoft.com/office/drawing/2014/main" id="{23B3ADD2-B7B2-47A7-DF0B-4995540F41E0}"/>
              </a:ext>
            </a:extLst>
          </p:cNvPr>
          <p:cNvSpPr>
            <a:spLocks/>
          </p:cNvSpPr>
          <p:nvPr/>
        </p:nvSpPr>
        <p:spPr>
          <a:xfrm>
            <a:off x="3347197" y="853208"/>
            <a:ext cx="873889" cy="764057"/>
          </a:xfrm>
          <a:custGeom>
            <a:avLst/>
            <a:gdLst>
              <a:gd name="connsiteX0" fmla="*/ 156175 w 415348"/>
              <a:gd name="connsiteY0" fmla="*/ 155526 h 363146"/>
              <a:gd name="connsiteX1" fmla="*/ 207782 w 415348"/>
              <a:gd name="connsiteY1" fmla="*/ 103864 h 363146"/>
              <a:gd name="connsiteX2" fmla="*/ 259390 w 415348"/>
              <a:gd name="connsiteY2" fmla="*/ 155526 h 363146"/>
              <a:gd name="connsiteX3" fmla="*/ 207782 w 415348"/>
              <a:gd name="connsiteY3" fmla="*/ 207296 h 363146"/>
              <a:gd name="connsiteX4" fmla="*/ 156175 w 415348"/>
              <a:gd name="connsiteY4" fmla="*/ 155526 h 363146"/>
              <a:gd name="connsiteX5" fmla="*/ 207782 w 415348"/>
              <a:gd name="connsiteY5" fmla="*/ 0 h 363146"/>
              <a:gd name="connsiteX6" fmla="*/ 0 w 415348"/>
              <a:gd name="connsiteY6" fmla="*/ 207350 h 363146"/>
              <a:gd name="connsiteX7" fmla="*/ 51986 w 415348"/>
              <a:gd name="connsiteY7" fmla="*/ 259228 h 363146"/>
              <a:gd name="connsiteX8" fmla="*/ 104134 w 415348"/>
              <a:gd name="connsiteY8" fmla="*/ 207512 h 363146"/>
              <a:gd name="connsiteX9" fmla="*/ 155904 w 415348"/>
              <a:gd name="connsiteY9" fmla="*/ 259499 h 363146"/>
              <a:gd name="connsiteX10" fmla="*/ 103810 w 415348"/>
              <a:gd name="connsiteY10" fmla="*/ 311593 h 363146"/>
              <a:gd name="connsiteX11" fmla="*/ 155904 w 415348"/>
              <a:gd name="connsiteY11" fmla="*/ 363147 h 363146"/>
              <a:gd name="connsiteX12" fmla="*/ 206810 w 415348"/>
              <a:gd name="connsiteY12" fmla="*/ 311431 h 363146"/>
              <a:gd name="connsiteX13" fmla="*/ 259823 w 415348"/>
              <a:gd name="connsiteY13" fmla="*/ 363147 h 363146"/>
              <a:gd name="connsiteX14" fmla="*/ 311485 w 415348"/>
              <a:gd name="connsiteY14" fmla="*/ 311431 h 363146"/>
              <a:gd name="connsiteX15" fmla="*/ 259823 w 415348"/>
              <a:gd name="connsiteY15" fmla="*/ 259769 h 363146"/>
              <a:gd name="connsiteX16" fmla="*/ 312025 w 415348"/>
              <a:gd name="connsiteY16" fmla="*/ 207512 h 363146"/>
              <a:gd name="connsiteX17" fmla="*/ 363633 w 415348"/>
              <a:gd name="connsiteY17" fmla="*/ 259228 h 363146"/>
              <a:gd name="connsiteX18" fmla="*/ 415349 w 415348"/>
              <a:gd name="connsiteY18" fmla="*/ 207512 h 363146"/>
              <a:gd name="connsiteX19" fmla="*/ 207782 w 415348"/>
              <a:gd name="connsiteY19" fmla="*/ 0 h 3631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415348" h="363146">
                <a:moveTo>
                  <a:pt x="156175" y="155526"/>
                </a:moveTo>
                <a:lnTo>
                  <a:pt x="207782" y="103864"/>
                </a:lnTo>
                <a:lnTo>
                  <a:pt x="259390" y="155526"/>
                </a:lnTo>
                <a:lnTo>
                  <a:pt x="207782" y="207296"/>
                </a:lnTo>
                <a:lnTo>
                  <a:pt x="156175" y="155526"/>
                </a:lnTo>
                <a:close/>
                <a:moveTo>
                  <a:pt x="207782" y="0"/>
                </a:moveTo>
                <a:lnTo>
                  <a:pt x="0" y="207350"/>
                </a:lnTo>
                <a:lnTo>
                  <a:pt x="51986" y="259228"/>
                </a:lnTo>
                <a:lnTo>
                  <a:pt x="104134" y="207512"/>
                </a:lnTo>
                <a:lnTo>
                  <a:pt x="155904" y="259499"/>
                </a:lnTo>
                <a:lnTo>
                  <a:pt x="103810" y="311593"/>
                </a:lnTo>
                <a:lnTo>
                  <a:pt x="155904" y="363147"/>
                </a:lnTo>
                <a:lnTo>
                  <a:pt x="206810" y="311431"/>
                </a:lnTo>
                <a:lnTo>
                  <a:pt x="259823" y="363147"/>
                </a:lnTo>
                <a:lnTo>
                  <a:pt x="311485" y="311431"/>
                </a:lnTo>
                <a:lnTo>
                  <a:pt x="259823" y="259769"/>
                </a:lnTo>
                <a:lnTo>
                  <a:pt x="312025" y="207512"/>
                </a:lnTo>
                <a:lnTo>
                  <a:pt x="363633" y="259228"/>
                </a:lnTo>
                <a:lnTo>
                  <a:pt x="415349" y="207512"/>
                </a:lnTo>
                <a:lnTo>
                  <a:pt x="207782" y="0"/>
                </a:lnTo>
                <a:close/>
              </a:path>
            </a:pathLst>
          </a:custGeom>
          <a:solidFill>
            <a:schemeClr val="accent2"/>
          </a:solidFill>
          <a:ln w="5382" cap="flat">
            <a:noFill/>
            <a:prstDash val="solid"/>
            <a:miter/>
          </a:ln>
        </p:spPr>
        <p:txBody>
          <a:bodyPr rtlCol="0" anchor="ctr"/>
          <a:lstStyle/>
          <a:p>
            <a:endParaRPr lang="en-US" dirty="0"/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C5AEDEE7-6139-A3E5-0EEB-3CA889D93948}"/>
              </a:ext>
            </a:extLst>
          </p:cNvPr>
          <p:cNvGrpSpPr/>
          <p:nvPr userDrawn="1"/>
        </p:nvGrpSpPr>
        <p:grpSpPr>
          <a:xfrm>
            <a:off x="4535003" y="1051336"/>
            <a:ext cx="2089689" cy="458152"/>
            <a:chOff x="4668001" y="1061496"/>
            <a:chExt cx="2089689" cy="458152"/>
          </a:xfrm>
          <a:solidFill>
            <a:srgbClr val="004F9F"/>
          </a:solidFill>
        </p:grpSpPr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260A75C9-C33F-F1B4-B027-9CA6362EC936}"/>
                </a:ext>
              </a:extLst>
            </p:cNvPr>
            <p:cNvSpPr/>
            <p:nvPr/>
          </p:nvSpPr>
          <p:spPr>
            <a:xfrm>
              <a:off x="6666155" y="1061496"/>
              <a:ext cx="91535" cy="366141"/>
            </a:xfrm>
            <a:custGeom>
              <a:avLst/>
              <a:gdLst>
                <a:gd name="connsiteX0" fmla="*/ 0 w 91535"/>
                <a:gd name="connsiteY0" fmla="*/ 0 h 366141"/>
                <a:gd name="connsiteX1" fmla="*/ 91535 w 91535"/>
                <a:gd name="connsiteY1" fmla="*/ 0 h 366141"/>
                <a:gd name="connsiteX2" fmla="*/ 91535 w 91535"/>
                <a:gd name="connsiteY2" fmla="*/ 366141 h 366141"/>
                <a:gd name="connsiteX3" fmla="*/ 0 w 91535"/>
                <a:gd name="connsiteY3" fmla="*/ 366141 h 366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1535" h="366141">
                  <a:moveTo>
                    <a:pt x="0" y="0"/>
                  </a:moveTo>
                  <a:lnTo>
                    <a:pt x="91535" y="0"/>
                  </a:lnTo>
                  <a:lnTo>
                    <a:pt x="91535" y="366141"/>
                  </a:lnTo>
                  <a:lnTo>
                    <a:pt x="0" y="36614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6DDB4EAB-7657-1478-B192-F9D2CB024DAE}"/>
                </a:ext>
              </a:extLst>
            </p:cNvPr>
            <p:cNvSpPr/>
            <p:nvPr/>
          </p:nvSpPr>
          <p:spPr>
            <a:xfrm>
              <a:off x="6178094" y="1092452"/>
              <a:ext cx="91439" cy="60960"/>
            </a:xfrm>
            <a:custGeom>
              <a:avLst/>
              <a:gdLst>
                <a:gd name="connsiteX0" fmla="*/ 0 w 91439"/>
                <a:gd name="connsiteY0" fmla="*/ 0 h 60960"/>
                <a:gd name="connsiteX1" fmla="*/ 91440 w 91439"/>
                <a:gd name="connsiteY1" fmla="*/ 0 h 60960"/>
                <a:gd name="connsiteX2" fmla="*/ 91440 w 91439"/>
                <a:gd name="connsiteY2" fmla="*/ 60960 h 60960"/>
                <a:gd name="connsiteX3" fmla="*/ 0 w 91439"/>
                <a:gd name="connsiteY3" fmla="*/ 60960 h 609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1439" h="60960">
                  <a:moveTo>
                    <a:pt x="0" y="0"/>
                  </a:moveTo>
                  <a:lnTo>
                    <a:pt x="91440" y="0"/>
                  </a:lnTo>
                  <a:lnTo>
                    <a:pt x="91440" y="60960"/>
                  </a:lnTo>
                  <a:lnTo>
                    <a:pt x="0" y="6096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5B733183-CCDF-16AA-5012-9CBA5B443389}"/>
                </a:ext>
              </a:extLst>
            </p:cNvPr>
            <p:cNvSpPr/>
            <p:nvPr/>
          </p:nvSpPr>
          <p:spPr>
            <a:xfrm>
              <a:off x="4668001" y="1061496"/>
              <a:ext cx="1952339" cy="458152"/>
            </a:xfrm>
            <a:custGeom>
              <a:avLst/>
              <a:gdLst>
                <a:gd name="connsiteX0" fmla="*/ 274511 w 1952339"/>
                <a:gd name="connsiteY0" fmla="*/ 274987 h 458152"/>
                <a:gd name="connsiteX1" fmla="*/ 335566 w 1952339"/>
                <a:gd name="connsiteY1" fmla="*/ 274987 h 458152"/>
                <a:gd name="connsiteX2" fmla="*/ 335566 w 1952339"/>
                <a:gd name="connsiteY2" fmla="*/ 397097 h 458152"/>
                <a:gd name="connsiteX3" fmla="*/ 274511 w 1952339"/>
                <a:gd name="connsiteY3" fmla="*/ 397097 h 458152"/>
                <a:gd name="connsiteX4" fmla="*/ 274511 w 1952339"/>
                <a:gd name="connsiteY4" fmla="*/ 274987 h 458152"/>
                <a:gd name="connsiteX5" fmla="*/ 1525334 w 1952339"/>
                <a:gd name="connsiteY5" fmla="*/ 183452 h 458152"/>
                <a:gd name="connsiteX6" fmla="*/ 1586293 w 1952339"/>
                <a:gd name="connsiteY6" fmla="*/ 183452 h 458152"/>
                <a:gd name="connsiteX7" fmla="*/ 1586293 w 1952339"/>
                <a:gd name="connsiteY7" fmla="*/ 305467 h 458152"/>
                <a:gd name="connsiteX8" fmla="*/ 1525334 w 1952339"/>
                <a:gd name="connsiteY8" fmla="*/ 305467 h 458152"/>
                <a:gd name="connsiteX9" fmla="*/ 1525334 w 1952339"/>
                <a:gd name="connsiteY9" fmla="*/ 183452 h 458152"/>
                <a:gd name="connsiteX10" fmla="*/ 1860899 w 1952339"/>
                <a:gd name="connsiteY10" fmla="*/ 0 h 458152"/>
                <a:gd name="connsiteX11" fmla="*/ 1860899 w 1952339"/>
                <a:gd name="connsiteY11" fmla="*/ 305086 h 458152"/>
                <a:gd name="connsiteX12" fmla="*/ 1677829 w 1952339"/>
                <a:gd name="connsiteY12" fmla="*/ 305086 h 458152"/>
                <a:gd name="connsiteX13" fmla="*/ 1677829 w 1952339"/>
                <a:gd name="connsiteY13" fmla="*/ 183452 h 458152"/>
                <a:gd name="connsiteX14" fmla="*/ 1647349 w 1952339"/>
                <a:gd name="connsiteY14" fmla="*/ 122396 h 458152"/>
                <a:gd name="connsiteX15" fmla="*/ 1433798 w 1952339"/>
                <a:gd name="connsiteY15" fmla="*/ 122396 h 458152"/>
                <a:gd name="connsiteX16" fmla="*/ 1433798 w 1952339"/>
                <a:gd name="connsiteY16" fmla="*/ 305372 h 458152"/>
                <a:gd name="connsiteX17" fmla="*/ 1250823 w 1952339"/>
                <a:gd name="connsiteY17" fmla="*/ 305372 h 458152"/>
                <a:gd name="connsiteX18" fmla="*/ 1250823 w 1952339"/>
                <a:gd name="connsiteY18" fmla="*/ 183356 h 458152"/>
                <a:gd name="connsiteX19" fmla="*/ 1220343 w 1952339"/>
                <a:gd name="connsiteY19" fmla="*/ 122301 h 458152"/>
                <a:gd name="connsiteX20" fmla="*/ 1006697 w 1952339"/>
                <a:gd name="connsiteY20" fmla="*/ 122301 h 458152"/>
                <a:gd name="connsiteX21" fmla="*/ 1006697 w 1952339"/>
                <a:gd name="connsiteY21" fmla="*/ 191 h 458152"/>
                <a:gd name="connsiteX22" fmla="*/ 915257 w 1952339"/>
                <a:gd name="connsiteY22" fmla="*/ 191 h 458152"/>
                <a:gd name="connsiteX23" fmla="*/ 915257 w 1952339"/>
                <a:gd name="connsiteY23" fmla="*/ 274987 h 458152"/>
                <a:gd name="connsiteX24" fmla="*/ 1006697 w 1952339"/>
                <a:gd name="connsiteY24" fmla="*/ 274987 h 458152"/>
                <a:gd name="connsiteX25" fmla="*/ 1006697 w 1952339"/>
                <a:gd name="connsiteY25" fmla="*/ 183452 h 458152"/>
                <a:gd name="connsiteX26" fmla="*/ 1159383 w 1952339"/>
                <a:gd name="connsiteY26" fmla="*/ 183452 h 458152"/>
                <a:gd name="connsiteX27" fmla="*/ 1159383 w 1952339"/>
                <a:gd name="connsiteY27" fmla="*/ 305467 h 458152"/>
                <a:gd name="connsiteX28" fmla="*/ 732282 w 1952339"/>
                <a:gd name="connsiteY28" fmla="*/ 305467 h 458152"/>
                <a:gd name="connsiteX29" fmla="*/ 732282 w 1952339"/>
                <a:gd name="connsiteY29" fmla="*/ 182975 h 458152"/>
                <a:gd name="connsiteX30" fmla="*/ 640747 w 1952339"/>
                <a:gd name="connsiteY30" fmla="*/ 182975 h 458152"/>
                <a:gd name="connsiteX31" fmla="*/ 640747 w 1952339"/>
                <a:gd name="connsiteY31" fmla="*/ 305467 h 458152"/>
                <a:gd name="connsiteX32" fmla="*/ 427196 w 1952339"/>
                <a:gd name="connsiteY32" fmla="*/ 305467 h 458152"/>
                <a:gd name="connsiteX33" fmla="*/ 427196 w 1952339"/>
                <a:gd name="connsiteY33" fmla="*/ 274987 h 458152"/>
                <a:gd name="connsiteX34" fmla="*/ 396621 w 1952339"/>
                <a:gd name="connsiteY34" fmla="*/ 214027 h 458152"/>
                <a:gd name="connsiteX35" fmla="*/ 183071 w 1952339"/>
                <a:gd name="connsiteY35" fmla="*/ 214027 h 458152"/>
                <a:gd name="connsiteX36" fmla="*/ 183071 w 1952339"/>
                <a:gd name="connsiteY36" fmla="*/ 305562 h 458152"/>
                <a:gd name="connsiteX37" fmla="*/ 0 w 1952339"/>
                <a:gd name="connsiteY37" fmla="*/ 305562 h 458152"/>
                <a:gd name="connsiteX38" fmla="*/ 0 w 1952339"/>
                <a:gd name="connsiteY38" fmla="*/ 366141 h 458152"/>
                <a:gd name="connsiteX39" fmla="*/ 182975 w 1952339"/>
                <a:gd name="connsiteY39" fmla="*/ 366141 h 458152"/>
                <a:gd name="connsiteX40" fmla="*/ 182975 w 1952339"/>
                <a:gd name="connsiteY40" fmla="*/ 397097 h 458152"/>
                <a:gd name="connsiteX41" fmla="*/ 213455 w 1952339"/>
                <a:gd name="connsiteY41" fmla="*/ 458153 h 458152"/>
                <a:gd name="connsiteX42" fmla="*/ 427006 w 1952339"/>
                <a:gd name="connsiteY42" fmla="*/ 458153 h 458152"/>
                <a:gd name="connsiteX43" fmla="*/ 427006 w 1952339"/>
                <a:gd name="connsiteY43" fmla="*/ 366046 h 458152"/>
                <a:gd name="connsiteX44" fmla="*/ 1921859 w 1952339"/>
                <a:gd name="connsiteY44" fmla="*/ 366046 h 458152"/>
                <a:gd name="connsiteX45" fmla="*/ 1952339 w 1952339"/>
                <a:gd name="connsiteY45" fmla="*/ 305181 h 458152"/>
                <a:gd name="connsiteX46" fmla="*/ 1952339 w 1952339"/>
                <a:gd name="connsiteY46" fmla="*/ 0 h 458152"/>
                <a:gd name="connsiteX47" fmla="*/ 1860804 w 1952339"/>
                <a:gd name="connsiteY47" fmla="*/ 0 h 4581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</a:cxnLst>
              <a:rect l="l" t="t" r="r" b="b"/>
              <a:pathLst>
                <a:path w="1952339" h="458152">
                  <a:moveTo>
                    <a:pt x="274511" y="274987"/>
                  </a:moveTo>
                  <a:lnTo>
                    <a:pt x="335566" y="274987"/>
                  </a:lnTo>
                  <a:lnTo>
                    <a:pt x="335566" y="397097"/>
                  </a:lnTo>
                  <a:lnTo>
                    <a:pt x="274511" y="397097"/>
                  </a:lnTo>
                  <a:lnTo>
                    <a:pt x="274511" y="274987"/>
                  </a:lnTo>
                  <a:close/>
                  <a:moveTo>
                    <a:pt x="1525334" y="183452"/>
                  </a:moveTo>
                  <a:lnTo>
                    <a:pt x="1586293" y="183452"/>
                  </a:lnTo>
                  <a:lnTo>
                    <a:pt x="1586293" y="305467"/>
                  </a:lnTo>
                  <a:lnTo>
                    <a:pt x="1525334" y="305467"/>
                  </a:lnTo>
                  <a:lnTo>
                    <a:pt x="1525334" y="183452"/>
                  </a:lnTo>
                  <a:close/>
                  <a:moveTo>
                    <a:pt x="1860899" y="0"/>
                  </a:moveTo>
                  <a:lnTo>
                    <a:pt x="1860899" y="305086"/>
                  </a:lnTo>
                  <a:lnTo>
                    <a:pt x="1677829" y="305086"/>
                  </a:lnTo>
                  <a:lnTo>
                    <a:pt x="1677829" y="183452"/>
                  </a:lnTo>
                  <a:lnTo>
                    <a:pt x="1647349" y="122396"/>
                  </a:lnTo>
                  <a:lnTo>
                    <a:pt x="1433798" y="122396"/>
                  </a:lnTo>
                  <a:lnTo>
                    <a:pt x="1433798" y="305372"/>
                  </a:lnTo>
                  <a:lnTo>
                    <a:pt x="1250823" y="305372"/>
                  </a:lnTo>
                  <a:lnTo>
                    <a:pt x="1250823" y="183356"/>
                  </a:lnTo>
                  <a:lnTo>
                    <a:pt x="1220343" y="122301"/>
                  </a:lnTo>
                  <a:lnTo>
                    <a:pt x="1006697" y="122301"/>
                  </a:lnTo>
                  <a:lnTo>
                    <a:pt x="1006697" y="191"/>
                  </a:lnTo>
                  <a:lnTo>
                    <a:pt x="915257" y="191"/>
                  </a:lnTo>
                  <a:lnTo>
                    <a:pt x="915257" y="274987"/>
                  </a:lnTo>
                  <a:lnTo>
                    <a:pt x="1006697" y="274987"/>
                  </a:lnTo>
                  <a:lnTo>
                    <a:pt x="1006697" y="183452"/>
                  </a:lnTo>
                  <a:lnTo>
                    <a:pt x="1159383" y="183452"/>
                  </a:lnTo>
                  <a:lnTo>
                    <a:pt x="1159383" y="305467"/>
                  </a:lnTo>
                  <a:lnTo>
                    <a:pt x="732282" y="305467"/>
                  </a:lnTo>
                  <a:lnTo>
                    <a:pt x="732282" y="182975"/>
                  </a:lnTo>
                  <a:lnTo>
                    <a:pt x="640747" y="182975"/>
                  </a:lnTo>
                  <a:lnTo>
                    <a:pt x="640747" y="305467"/>
                  </a:lnTo>
                  <a:lnTo>
                    <a:pt x="427196" y="305467"/>
                  </a:lnTo>
                  <a:lnTo>
                    <a:pt x="427196" y="274987"/>
                  </a:lnTo>
                  <a:lnTo>
                    <a:pt x="396621" y="214027"/>
                  </a:lnTo>
                  <a:lnTo>
                    <a:pt x="183071" y="214027"/>
                  </a:lnTo>
                  <a:lnTo>
                    <a:pt x="183071" y="305562"/>
                  </a:lnTo>
                  <a:lnTo>
                    <a:pt x="0" y="305562"/>
                  </a:lnTo>
                  <a:lnTo>
                    <a:pt x="0" y="366141"/>
                  </a:lnTo>
                  <a:lnTo>
                    <a:pt x="182975" y="366141"/>
                  </a:lnTo>
                  <a:cubicBezTo>
                    <a:pt x="182975" y="366141"/>
                    <a:pt x="182975" y="397097"/>
                    <a:pt x="182975" y="397097"/>
                  </a:cubicBezTo>
                  <a:lnTo>
                    <a:pt x="213455" y="458153"/>
                  </a:lnTo>
                  <a:lnTo>
                    <a:pt x="427006" y="458153"/>
                  </a:lnTo>
                  <a:lnTo>
                    <a:pt x="427006" y="366046"/>
                  </a:lnTo>
                  <a:lnTo>
                    <a:pt x="1921859" y="366046"/>
                  </a:lnTo>
                  <a:cubicBezTo>
                    <a:pt x="1921859" y="366046"/>
                    <a:pt x="1952339" y="305181"/>
                    <a:pt x="1952339" y="305181"/>
                  </a:cubicBezTo>
                  <a:lnTo>
                    <a:pt x="1952339" y="0"/>
                  </a:lnTo>
                  <a:lnTo>
                    <a:pt x="1860804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48472D19-4BEE-DDF9-4802-3B0FF5FD9444}"/>
                </a:ext>
              </a:extLst>
            </p:cNvPr>
            <p:cNvSpPr/>
            <p:nvPr/>
          </p:nvSpPr>
          <p:spPr>
            <a:xfrm>
              <a:off x="5369612" y="1458593"/>
              <a:ext cx="91535" cy="61055"/>
            </a:xfrm>
            <a:custGeom>
              <a:avLst/>
              <a:gdLst>
                <a:gd name="connsiteX0" fmla="*/ 0 w 91535"/>
                <a:gd name="connsiteY0" fmla="*/ 0 h 61055"/>
                <a:gd name="connsiteX1" fmla="*/ 91535 w 91535"/>
                <a:gd name="connsiteY1" fmla="*/ 0 h 61055"/>
                <a:gd name="connsiteX2" fmla="*/ 91535 w 91535"/>
                <a:gd name="connsiteY2" fmla="*/ 61055 h 61055"/>
                <a:gd name="connsiteX3" fmla="*/ 0 w 91535"/>
                <a:gd name="connsiteY3" fmla="*/ 61055 h 610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1535" h="61055">
                  <a:moveTo>
                    <a:pt x="0" y="0"/>
                  </a:moveTo>
                  <a:lnTo>
                    <a:pt x="91535" y="0"/>
                  </a:lnTo>
                  <a:lnTo>
                    <a:pt x="91535" y="61055"/>
                  </a:lnTo>
                  <a:lnTo>
                    <a:pt x="0" y="6105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5269D0F9-38E6-22C6-2DF3-4B96E6B7BBA6}"/>
                </a:ext>
              </a:extLst>
            </p:cNvPr>
            <p:cNvSpPr/>
            <p:nvPr/>
          </p:nvSpPr>
          <p:spPr>
            <a:xfrm>
              <a:off x="5247597" y="1458593"/>
              <a:ext cx="91535" cy="61055"/>
            </a:xfrm>
            <a:custGeom>
              <a:avLst/>
              <a:gdLst>
                <a:gd name="connsiteX0" fmla="*/ 0 w 91535"/>
                <a:gd name="connsiteY0" fmla="*/ 0 h 61055"/>
                <a:gd name="connsiteX1" fmla="*/ 91535 w 91535"/>
                <a:gd name="connsiteY1" fmla="*/ 0 h 61055"/>
                <a:gd name="connsiteX2" fmla="*/ 91535 w 91535"/>
                <a:gd name="connsiteY2" fmla="*/ 61055 h 61055"/>
                <a:gd name="connsiteX3" fmla="*/ 0 w 91535"/>
                <a:gd name="connsiteY3" fmla="*/ 61055 h 610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1535" h="61055">
                  <a:moveTo>
                    <a:pt x="0" y="0"/>
                  </a:moveTo>
                  <a:lnTo>
                    <a:pt x="91535" y="0"/>
                  </a:lnTo>
                  <a:lnTo>
                    <a:pt x="91535" y="61055"/>
                  </a:lnTo>
                  <a:lnTo>
                    <a:pt x="0" y="6105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Freeform: Shape 3">
            <a:extLst>
              <a:ext uri="{FF2B5EF4-FFF2-40B4-BE49-F238E27FC236}">
                <a16:creationId xmlns:a16="http://schemas.microsoft.com/office/drawing/2014/main" id="{A6995BA0-03DD-649F-88BF-F31C62BBE676}"/>
              </a:ext>
            </a:extLst>
          </p:cNvPr>
          <p:cNvSpPr>
            <a:spLocks/>
          </p:cNvSpPr>
          <p:nvPr userDrawn="1"/>
        </p:nvSpPr>
        <p:spPr>
          <a:xfrm>
            <a:off x="539748" y="1071851"/>
            <a:ext cx="2493533" cy="436490"/>
          </a:xfrm>
          <a:custGeom>
            <a:avLst/>
            <a:gdLst>
              <a:gd name="connsiteX0" fmla="*/ 259606 w 1185143"/>
              <a:gd name="connsiteY0" fmla="*/ 138234 h 207458"/>
              <a:gd name="connsiteX1" fmla="*/ 311539 w 1185143"/>
              <a:gd name="connsiteY1" fmla="*/ 138234 h 207458"/>
              <a:gd name="connsiteX2" fmla="*/ 311539 w 1185143"/>
              <a:gd name="connsiteY2" fmla="*/ 103486 h 207458"/>
              <a:gd name="connsiteX3" fmla="*/ 259606 w 1185143"/>
              <a:gd name="connsiteY3" fmla="*/ 103486 h 207458"/>
              <a:gd name="connsiteX4" fmla="*/ 259606 w 1185143"/>
              <a:gd name="connsiteY4" fmla="*/ 138234 h 207458"/>
              <a:gd name="connsiteX5" fmla="*/ 787196 w 1185143"/>
              <a:gd name="connsiteY5" fmla="*/ 103756 h 207458"/>
              <a:gd name="connsiteX6" fmla="*/ 821943 w 1185143"/>
              <a:gd name="connsiteY6" fmla="*/ 103756 h 207458"/>
              <a:gd name="connsiteX7" fmla="*/ 821943 w 1185143"/>
              <a:gd name="connsiteY7" fmla="*/ 172981 h 207458"/>
              <a:gd name="connsiteX8" fmla="*/ 787196 w 1185143"/>
              <a:gd name="connsiteY8" fmla="*/ 172981 h 207458"/>
              <a:gd name="connsiteX9" fmla="*/ 787196 w 1185143"/>
              <a:gd name="connsiteY9" fmla="*/ 103756 h 207458"/>
              <a:gd name="connsiteX10" fmla="*/ 752718 w 1185143"/>
              <a:gd name="connsiteY10" fmla="*/ 69225 h 207458"/>
              <a:gd name="connsiteX11" fmla="*/ 735318 w 1185143"/>
              <a:gd name="connsiteY11" fmla="*/ 103756 h 207458"/>
              <a:gd name="connsiteX12" fmla="*/ 735318 w 1185143"/>
              <a:gd name="connsiteY12" fmla="*/ 172981 h 207458"/>
              <a:gd name="connsiteX13" fmla="*/ 752718 w 1185143"/>
              <a:gd name="connsiteY13" fmla="*/ 207458 h 207458"/>
              <a:gd name="connsiteX14" fmla="*/ 873821 w 1185143"/>
              <a:gd name="connsiteY14" fmla="*/ 207458 h 207458"/>
              <a:gd name="connsiteX15" fmla="*/ 873821 w 1185143"/>
              <a:gd name="connsiteY15" fmla="*/ 69225 h 207458"/>
              <a:gd name="connsiteX16" fmla="*/ 752718 w 1185143"/>
              <a:gd name="connsiteY16" fmla="*/ 69225 h 207458"/>
              <a:gd name="connsiteX17" fmla="*/ 977577 w 1185143"/>
              <a:gd name="connsiteY17" fmla="*/ 69225 h 207458"/>
              <a:gd name="connsiteX18" fmla="*/ 977577 w 1185143"/>
              <a:gd name="connsiteY18" fmla="*/ 207458 h 207458"/>
              <a:gd name="connsiteX19" fmla="*/ 1029455 w 1185143"/>
              <a:gd name="connsiteY19" fmla="*/ 207458 h 207458"/>
              <a:gd name="connsiteX20" fmla="*/ 1029455 w 1185143"/>
              <a:gd name="connsiteY20" fmla="*/ 103756 h 207458"/>
              <a:gd name="connsiteX21" fmla="*/ 1055394 w 1185143"/>
              <a:gd name="connsiteY21" fmla="*/ 103756 h 207458"/>
              <a:gd name="connsiteX22" fmla="*/ 1055394 w 1185143"/>
              <a:gd name="connsiteY22" fmla="*/ 207458 h 207458"/>
              <a:gd name="connsiteX23" fmla="*/ 1107273 w 1185143"/>
              <a:gd name="connsiteY23" fmla="*/ 207458 h 207458"/>
              <a:gd name="connsiteX24" fmla="*/ 1107273 w 1185143"/>
              <a:gd name="connsiteY24" fmla="*/ 103756 h 207458"/>
              <a:gd name="connsiteX25" fmla="*/ 1133266 w 1185143"/>
              <a:gd name="connsiteY25" fmla="*/ 103756 h 207458"/>
              <a:gd name="connsiteX26" fmla="*/ 1133266 w 1185143"/>
              <a:gd name="connsiteY26" fmla="*/ 207458 h 207458"/>
              <a:gd name="connsiteX27" fmla="*/ 1185144 w 1185143"/>
              <a:gd name="connsiteY27" fmla="*/ 207458 h 207458"/>
              <a:gd name="connsiteX28" fmla="*/ 1185144 w 1185143"/>
              <a:gd name="connsiteY28" fmla="*/ 103756 h 207458"/>
              <a:gd name="connsiteX29" fmla="*/ 1168013 w 1185143"/>
              <a:gd name="connsiteY29" fmla="*/ 69225 h 207458"/>
              <a:gd name="connsiteX30" fmla="*/ 977631 w 1185143"/>
              <a:gd name="connsiteY30" fmla="*/ 69225 h 207458"/>
              <a:gd name="connsiteX31" fmla="*/ 899760 w 1185143"/>
              <a:gd name="connsiteY31" fmla="*/ 207458 h 207458"/>
              <a:gd name="connsiteX32" fmla="*/ 951692 w 1185143"/>
              <a:gd name="connsiteY32" fmla="*/ 207458 h 207458"/>
              <a:gd name="connsiteX33" fmla="*/ 951692 w 1185143"/>
              <a:gd name="connsiteY33" fmla="*/ 69225 h 207458"/>
              <a:gd name="connsiteX34" fmla="*/ 899760 w 1185143"/>
              <a:gd name="connsiteY34" fmla="*/ 69009 h 207458"/>
              <a:gd name="connsiteX35" fmla="*/ 899760 w 1185143"/>
              <a:gd name="connsiteY35" fmla="*/ 207458 h 207458"/>
              <a:gd name="connsiteX36" fmla="*/ 112565 w 1185143"/>
              <a:gd name="connsiteY36" fmla="*/ 34477 h 207458"/>
              <a:gd name="connsiteX37" fmla="*/ 112565 w 1185143"/>
              <a:gd name="connsiteY37" fmla="*/ 103756 h 207458"/>
              <a:gd name="connsiteX38" fmla="*/ 86355 w 1185143"/>
              <a:gd name="connsiteY38" fmla="*/ 103756 h 207458"/>
              <a:gd name="connsiteX39" fmla="*/ 112565 w 1185143"/>
              <a:gd name="connsiteY39" fmla="*/ 34477 h 207458"/>
              <a:gd name="connsiteX40" fmla="*/ 69225 w 1185143"/>
              <a:gd name="connsiteY40" fmla="*/ 0 h 207458"/>
              <a:gd name="connsiteX41" fmla="*/ 0 w 1185143"/>
              <a:gd name="connsiteY41" fmla="*/ 207458 h 207458"/>
              <a:gd name="connsiteX42" fmla="*/ 51878 w 1185143"/>
              <a:gd name="connsiteY42" fmla="*/ 207458 h 207458"/>
              <a:gd name="connsiteX43" fmla="*/ 77817 w 1185143"/>
              <a:gd name="connsiteY43" fmla="*/ 138450 h 207458"/>
              <a:gd name="connsiteX44" fmla="*/ 112565 w 1185143"/>
              <a:gd name="connsiteY44" fmla="*/ 138450 h 207458"/>
              <a:gd name="connsiteX45" fmla="*/ 112565 w 1185143"/>
              <a:gd name="connsiteY45" fmla="*/ 207458 h 207458"/>
              <a:gd name="connsiteX46" fmla="*/ 164443 w 1185143"/>
              <a:gd name="connsiteY46" fmla="*/ 207458 h 207458"/>
              <a:gd name="connsiteX47" fmla="*/ 164443 w 1185143"/>
              <a:gd name="connsiteY47" fmla="*/ 0 h 207458"/>
              <a:gd name="connsiteX48" fmla="*/ 69225 w 1185143"/>
              <a:gd name="connsiteY48" fmla="*/ 0 h 207458"/>
              <a:gd name="connsiteX49" fmla="*/ 190328 w 1185143"/>
              <a:gd name="connsiteY49" fmla="*/ 207458 h 207458"/>
              <a:gd name="connsiteX50" fmla="*/ 242206 w 1185143"/>
              <a:gd name="connsiteY50" fmla="*/ 207458 h 207458"/>
              <a:gd name="connsiteX51" fmla="*/ 242206 w 1185143"/>
              <a:gd name="connsiteY51" fmla="*/ 0 h 207458"/>
              <a:gd name="connsiteX52" fmla="*/ 190328 w 1185143"/>
              <a:gd name="connsiteY52" fmla="*/ 0 h 207458"/>
              <a:gd name="connsiteX53" fmla="*/ 190328 w 1185143"/>
              <a:gd name="connsiteY53" fmla="*/ 207458 h 207458"/>
              <a:gd name="connsiteX54" fmla="*/ 328615 w 1185143"/>
              <a:gd name="connsiteY54" fmla="*/ 0 h 207458"/>
              <a:gd name="connsiteX55" fmla="*/ 328615 w 1185143"/>
              <a:gd name="connsiteY55" fmla="*/ 207458 h 207458"/>
              <a:gd name="connsiteX56" fmla="*/ 380493 w 1185143"/>
              <a:gd name="connsiteY56" fmla="*/ 207458 h 207458"/>
              <a:gd name="connsiteX57" fmla="*/ 380493 w 1185143"/>
              <a:gd name="connsiteY57" fmla="*/ 103756 h 207458"/>
              <a:gd name="connsiteX58" fmla="*/ 415295 w 1185143"/>
              <a:gd name="connsiteY58" fmla="*/ 103756 h 207458"/>
              <a:gd name="connsiteX59" fmla="*/ 415295 w 1185143"/>
              <a:gd name="connsiteY59" fmla="*/ 172981 h 207458"/>
              <a:gd name="connsiteX60" fmla="*/ 432641 w 1185143"/>
              <a:gd name="connsiteY60" fmla="*/ 207458 h 207458"/>
              <a:gd name="connsiteX61" fmla="*/ 553798 w 1185143"/>
              <a:gd name="connsiteY61" fmla="*/ 207458 h 207458"/>
              <a:gd name="connsiteX62" fmla="*/ 553798 w 1185143"/>
              <a:gd name="connsiteY62" fmla="*/ 103756 h 207458"/>
              <a:gd name="connsiteX63" fmla="*/ 579737 w 1185143"/>
              <a:gd name="connsiteY63" fmla="*/ 103756 h 207458"/>
              <a:gd name="connsiteX64" fmla="*/ 579737 w 1185143"/>
              <a:gd name="connsiteY64" fmla="*/ 207458 h 207458"/>
              <a:gd name="connsiteX65" fmla="*/ 631561 w 1185143"/>
              <a:gd name="connsiteY65" fmla="*/ 207458 h 207458"/>
              <a:gd name="connsiteX66" fmla="*/ 631561 w 1185143"/>
              <a:gd name="connsiteY66" fmla="*/ 103756 h 207458"/>
              <a:gd name="connsiteX67" fmla="*/ 657555 w 1185143"/>
              <a:gd name="connsiteY67" fmla="*/ 103756 h 207458"/>
              <a:gd name="connsiteX68" fmla="*/ 657555 w 1185143"/>
              <a:gd name="connsiteY68" fmla="*/ 207458 h 207458"/>
              <a:gd name="connsiteX69" fmla="*/ 709433 w 1185143"/>
              <a:gd name="connsiteY69" fmla="*/ 207458 h 207458"/>
              <a:gd name="connsiteX70" fmla="*/ 709433 w 1185143"/>
              <a:gd name="connsiteY70" fmla="*/ 103756 h 207458"/>
              <a:gd name="connsiteX71" fmla="*/ 735372 w 1185143"/>
              <a:gd name="connsiteY71" fmla="*/ 103756 h 207458"/>
              <a:gd name="connsiteX72" fmla="*/ 735372 w 1185143"/>
              <a:gd name="connsiteY72" fmla="*/ 69225 h 207458"/>
              <a:gd name="connsiteX73" fmla="*/ 709433 w 1185143"/>
              <a:gd name="connsiteY73" fmla="*/ 69225 h 207458"/>
              <a:gd name="connsiteX74" fmla="*/ 709433 w 1185143"/>
              <a:gd name="connsiteY74" fmla="*/ 34477 h 207458"/>
              <a:gd name="connsiteX75" fmla="*/ 657555 w 1185143"/>
              <a:gd name="connsiteY75" fmla="*/ 34477 h 207458"/>
              <a:gd name="connsiteX76" fmla="*/ 657555 w 1185143"/>
              <a:gd name="connsiteY76" fmla="*/ 69225 h 207458"/>
              <a:gd name="connsiteX77" fmla="*/ 631561 w 1185143"/>
              <a:gd name="connsiteY77" fmla="*/ 69225 h 207458"/>
              <a:gd name="connsiteX78" fmla="*/ 631561 w 1185143"/>
              <a:gd name="connsiteY78" fmla="*/ 34477 h 207458"/>
              <a:gd name="connsiteX79" fmla="*/ 579737 w 1185143"/>
              <a:gd name="connsiteY79" fmla="*/ 34477 h 207458"/>
              <a:gd name="connsiteX80" fmla="*/ 579737 w 1185143"/>
              <a:gd name="connsiteY80" fmla="*/ 69225 h 207458"/>
              <a:gd name="connsiteX81" fmla="*/ 501650 w 1185143"/>
              <a:gd name="connsiteY81" fmla="*/ 69225 h 207458"/>
              <a:gd name="connsiteX82" fmla="*/ 501650 w 1185143"/>
              <a:gd name="connsiteY82" fmla="*/ 172927 h 207458"/>
              <a:gd name="connsiteX83" fmla="*/ 467173 w 1185143"/>
              <a:gd name="connsiteY83" fmla="*/ 172927 h 207458"/>
              <a:gd name="connsiteX84" fmla="*/ 467173 w 1185143"/>
              <a:gd name="connsiteY84" fmla="*/ 69225 h 207458"/>
              <a:gd name="connsiteX85" fmla="*/ 380547 w 1185143"/>
              <a:gd name="connsiteY85" fmla="*/ 69225 h 207458"/>
              <a:gd name="connsiteX86" fmla="*/ 380547 w 1185143"/>
              <a:gd name="connsiteY86" fmla="*/ 34477 h 207458"/>
              <a:gd name="connsiteX87" fmla="*/ 467173 w 1185143"/>
              <a:gd name="connsiteY87" fmla="*/ 34477 h 207458"/>
              <a:gd name="connsiteX88" fmla="*/ 467173 w 1185143"/>
              <a:gd name="connsiteY88" fmla="*/ 0 h 207458"/>
              <a:gd name="connsiteX89" fmla="*/ 328669 w 1185143"/>
              <a:gd name="connsiteY89" fmla="*/ 0 h 207458"/>
              <a:gd name="connsiteX90" fmla="*/ 899760 w 1185143"/>
              <a:gd name="connsiteY90" fmla="*/ 34477 h 207458"/>
              <a:gd name="connsiteX91" fmla="*/ 951692 w 1185143"/>
              <a:gd name="connsiteY91" fmla="*/ 34477 h 207458"/>
              <a:gd name="connsiteX92" fmla="*/ 951692 w 1185143"/>
              <a:gd name="connsiteY92" fmla="*/ 0 h 207458"/>
              <a:gd name="connsiteX93" fmla="*/ 899760 w 1185143"/>
              <a:gd name="connsiteY93" fmla="*/ 0 h 207458"/>
              <a:gd name="connsiteX94" fmla="*/ 899760 w 1185143"/>
              <a:gd name="connsiteY94" fmla="*/ 34477 h 2074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</a:cxnLst>
            <a:rect l="l" t="t" r="r" b="b"/>
            <a:pathLst>
              <a:path w="1185143" h="207458">
                <a:moveTo>
                  <a:pt x="259606" y="138234"/>
                </a:moveTo>
                <a:lnTo>
                  <a:pt x="311539" y="138234"/>
                </a:lnTo>
                <a:lnTo>
                  <a:pt x="311539" y="103486"/>
                </a:lnTo>
                <a:lnTo>
                  <a:pt x="259606" y="103486"/>
                </a:lnTo>
                <a:lnTo>
                  <a:pt x="259606" y="138234"/>
                </a:lnTo>
                <a:close/>
                <a:moveTo>
                  <a:pt x="787196" y="103756"/>
                </a:moveTo>
                <a:lnTo>
                  <a:pt x="821943" y="103756"/>
                </a:lnTo>
                <a:lnTo>
                  <a:pt x="821943" y="172981"/>
                </a:lnTo>
                <a:lnTo>
                  <a:pt x="787196" y="172981"/>
                </a:lnTo>
                <a:lnTo>
                  <a:pt x="787196" y="103756"/>
                </a:lnTo>
                <a:close/>
                <a:moveTo>
                  <a:pt x="752718" y="69225"/>
                </a:moveTo>
                <a:lnTo>
                  <a:pt x="735318" y="103756"/>
                </a:lnTo>
                <a:lnTo>
                  <a:pt x="735318" y="172981"/>
                </a:lnTo>
                <a:lnTo>
                  <a:pt x="752718" y="207458"/>
                </a:lnTo>
                <a:lnTo>
                  <a:pt x="873821" y="207458"/>
                </a:lnTo>
                <a:lnTo>
                  <a:pt x="873821" y="69225"/>
                </a:lnTo>
                <a:lnTo>
                  <a:pt x="752718" y="69225"/>
                </a:lnTo>
                <a:close/>
                <a:moveTo>
                  <a:pt x="977577" y="69225"/>
                </a:moveTo>
                <a:lnTo>
                  <a:pt x="977577" y="207458"/>
                </a:lnTo>
                <a:lnTo>
                  <a:pt x="1029455" y="207458"/>
                </a:lnTo>
                <a:lnTo>
                  <a:pt x="1029455" y="103756"/>
                </a:lnTo>
                <a:lnTo>
                  <a:pt x="1055394" y="103756"/>
                </a:lnTo>
                <a:lnTo>
                  <a:pt x="1055394" y="207458"/>
                </a:lnTo>
                <a:lnTo>
                  <a:pt x="1107273" y="207458"/>
                </a:lnTo>
                <a:lnTo>
                  <a:pt x="1107273" y="103756"/>
                </a:lnTo>
                <a:lnTo>
                  <a:pt x="1133266" y="103756"/>
                </a:lnTo>
                <a:lnTo>
                  <a:pt x="1133266" y="207458"/>
                </a:lnTo>
                <a:lnTo>
                  <a:pt x="1185144" y="207458"/>
                </a:lnTo>
                <a:lnTo>
                  <a:pt x="1185144" y="103756"/>
                </a:lnTo>
                <a:lnTo>
                  <a:pt x="1168013" y="69225"/>
                </a:lnTo>
                <a:lnTo>
                  <a:pt x="977631" y="69225"/>
                </a:lnTo>
                <a:close/>
                <a:moveTo>
                  <a:pt x="899760" y="207458"/>
                </a:moveTo>
                <a:lnTo>
                  <a:pt x="951692" y="207458"/>
                </a:lnTo>
                <a:lnTo>
                  <a:pt x="951692" y="69225"/>
                </a:lnTo>
                <a:lnTo>
                  <a:pt x="899760" y="69009"/>
                </a:lnTo>
                <a:lnTo>
                  <a:pt x="899760" y="207458"/>
                </a:lnTo>
                <a:close/>
                <a:moveTo>
                  <a:pt x="112565" y="34477"/>
                </a:moveTo>
                <a:lnTo>
                  <a:pt x="112565" y="103756"/>
                </a:lnTo>
                <a:lnTo>
                  <a:pt x="86355" y="103756"/>
                </a:lnTo>
                <a:lnTo>
                  <a:pt x="112565" y="34477"/>
                </a:lnTo>
                <a:close/>
                <a:moveTo>
                  <a:pt x="69225" y="0"/>
                </a:moveTo>
                <a:lnTo>
                  <a:pt x="0" y="207458"/>
                </a:lnTo>
                <a:lnTo>
                  <a:pt x="51878" y="207458"/>
                </a:lnTo>
                <a:lnTo>
                  <a:pt x="77817" y="138450"/>
                </a:lnTo>
                <a:lnTo>
                  <a:pt x="112565" y="138450"/>
                </a:lnTo>
                <a:lnTo>
                  <a:pt x="112565" y="207458"/>
                </a:lnTo>
                <a:lnTo>
                  <a:pt x="164443" y="207458"/>
                </a:lnTo>
                <a:lnTo>
                  <a:pt x="164443" y="0"/>
                </a:lnTo>
                <a:lnTo>
                  <a:pt x="69225" y="0"/>
                </a:lnTo>
                <a:close/>
                <a:moveTo>
                  <a:pt x="190328" y="207458"/>
                </a:moveTo>
                <a:lnTo>
                  <a:pt x="242206" y="207458"/>
                </a:lnTo>
                <a:lnTo>
                  <a:pt x="242206" y="0"/>
                </a:lnTo>
                <a:lnTo>
                  <a:pt x="190328" y="0"/>
                </a:lnTo>
                <a:lnTo>
                  <a:pt x="190328" y="207458"/>
                </a:lnTo>
                <a:close/>
                <a:moveTo>
                  <a:pt x="328615" y="0"/>
                </a:moveTo>
                <a:lnTo>
                  <a:pt x="328615" y="207458"/>
                </a:lnTo>
                <a:lnTo>
                  <a:pt x="380493" y="207458"/>
                </a:lnTo>
                <a:lnTo>
                  <a:pt x="380493" y="103756"/>
                </a:lnTo>
                <a:lnTo>
                  <a:pt x="415295" y="103756"/>
                </a:lnTo>
                <a:lnTo>
                  <a:pt x="415295" y="172981"/>
                </a:lnTo>
                <a:lnTo>
                  <a:pt x="432641" y="207458"/>
                </a:lnTo>
                <a:lnTo>
                  <a:pt x="553798" y="207458"/>
                </a:lnTo>
                <a:lnTo>
                  <a:pt x="553798" y="103756"/>
                </a:lnTo>
                <a:lnTo>
                  <a:pt x="579737" y="103756"/>
                </a:lnTo>
                <a:lnTo>
                  <a:pt x="579737" y="207458"/>
                </a:lnTo>
                <a:lnTo>
                  <a:pt x="631561" y="207458"/>
                </a:lnTo>
                <a:lnTo>
                  <a:pt x="631561" y="103756"/>
                </a:lnTo>
                <a:lnTo>
                  <a:pt x="657555" y="103756"/>
                </a:lnTo>
                <a:lnTo>
                  <a:pt x="657555" y="207458"/>
                </a:lnTo>
                <a:lnTo>
                  <a:pt x="709433" y="207458"/>
                </a:lnTo>
                <a:lnTo>
                  <a:pt x="709433" y="103756"/>
                </a:lnTo>
                <a:lnTo>
                  <a:pt x="735372" y="103756"/>
                </a:lnTo>
                <a:lnTo>
                  <a:pt x="735372" y="69225"/>
                </a:lnTo>
                <a:lnTo>
                  <a:pt x="709433" y="69225"/>
                </a:lnTo>
                <a:lnTo>
                  <a:pt x="709433" y="34477"/>
                </a:lnTo>
                <a:lnTo>
                  <a:pt x="657555" y="34477"/>
                </a:lnTo>
                <a:lnTo>
                  <a:pt x="657555" y="69225"/>
                </a:lnTo>
                <a:lnTo>
                  <a:pt x="631561" y="69225"/>
                </a:lnTo>
                <a:lnTo>
                  <a:pt x="631561" y="34477"/>
                </a:lnTo>
                <a:lnTo>
                  <a:pt x="579737" y="34477"/>
                </a:lnTo>
                <a:lnTo>
                  <a:pt x="579737" y="69225"/>
                </a:lnTo>
                <a:lnTo>
                  <a:pt x="501650" y="69225"/>
                </a:lnTo>
                <a:lnTo>
                  <a:pt x="501650" y="172927"/>
                </a:lnTo>
                <a:lnTo>
                  <a:pt x="467173" y="172927"/>
                </a:lnTo>
                <a:lnTo>
                  <a:pt x="467173" y="69225"/>
                </a:lnTo>
                <a:lnTo>
                  <a:pt x="380547" y="69225"/>
                </a:lnTo>
                <a:lnTo>
                  <a:pt x="380547" y="34477"/>
                </a:lnTo>
                <a:lnTo>
                  <a:pt x="467173" y="34477"/>
                </a:lnTo>
                <a:lnTo>
                  <a:pt x="467173" y="0"/>
                </a:lnTo>
                <a:lnTo>
                  <a:pt x="328669" y="0"/>
                </a:lnTo>
                <a:close/>
                <a:moveTo>
                  <a:pt x="899760" y="34477"/>
                </a:moveTo>
                <a:lnTo>
                  <a:pt x="951692" y="34477"/>
                </a:lnTo>
                <a:lnTo>
                  <a:pt x="951692" y="0"/>
                </a:lnTo>
                <a:lnTo>
                  <a:pt x="899760" y="0"/>
                </a:lnTo>
                <a:lnTo>
                  <a:pt x="899760" y="34477"/>
                </a:lnTo>
                <a:close/>
              </a:path>
            </a:pathLst>
          </a:custGeom>
          <a:solidFill>
            <a:srgbClr val="004F9F"/>
          </a:solidFill>
          <a:ln w="5382" cap="flat">
            <a:noFill/>
            <a:prstDash val="solid"/>
            <a:miter/>
          </a:ln>
        </p:spPr>
        <p:txBody>
          <a:bodyPr rtlCol="0" anchor="ctr"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416122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orient="horz" pos="2500" userDrawn="1">
          <p15:clr>
            <a:srgbClr val="FBAE40"/>
          </p15:clr>
        </p15:guide>
        <p15:guide id="4" orient="horz" pos="2329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Slide_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A597281-ABB7-066F-7A10-EF9E1776C1D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068002" y="3968750"/>
            <a:ext cx="3584248" cy="775597"/>
          </a:xfrm>
        </p:spPr>
        <p:txBody>
          <a:bodyPr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Please insert </a:t>
            </a:r>
            <a:r>
              <a:rPr lang="en-US" dirty="0" err="1"/>
              <a:t>Chaptername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2D61B8B-D6CA-BCE6-71B4-5C8A439C247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3109594-1B45-46DB-8A0B-416F125317D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7B82DAD-1AFC-2023-BB91-5E7F5BD2C6D0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5682B46-6345-4219-AAD7-18DCC2133C42}" type="datetime1">
              <a:rPr lang="en-US" smtClean="0"/>
              <a:t>21/08/2025</a:t>
            </a:fld>
            <a:endParaRPr lang="en-US" dirty="0"/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067D27C3-EAAD-645A-5694-915755BD857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068002" y="3267988"/>
            <a:ext cx="3584248" cy="430887"/>
          </a:xfrm>
        </p:spPr>
        <p:txBody>
          <a:bodyPr anchor="b">
            <a:spAutoFit/>
          </a:bodyPr>
          <a:lstStyle>
            <a:lvl1pPr>
              <a:defRPr sz="28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01</a:t>
            </a:r>
          </a:p>
        </p:txBody>
      </p:sp>
      <p:sp>
        <p:nvSpPr>
          <p:cNvPr id="24" name="Picture Placeholder 23">
            <a:extLst>
              <a:ext uri="{FF2B5EF4-FFF2-40B4-BE49-F238E27FC236}">
                <a16:creationId xmlns:a16="http://schemas.microsoft.com/office/drawing/2014/main" id="{8CB05548-1B60-6192-73CB-55868E6B189D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7707313" cy="6858000"/>
          </a:xfrm>
          <a:solidFill>
            <a:schemeClr val="accent6"/>
          </a:solidFill>
        </p:spPr>
        <p:txBody>
          <a:bodyPr/>
          <a:lstStyle/>
          <a:p>
            <a:r>
              <a:rPr lang="en-US"/>
              <a:t>Click to insert picture</a:t>
            </a:r>
            <a:endParaRPr lang="en-US" dirty="0"/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C78BDFF0-E115-D7E1-4FFD-57F1679EC926}"/>
              </a:ext>
            </a:extLst>
          </p:cNvPr>
          <p:cNvGrpSpPr/>
          <p:nvPr userDrawn="1"/>
        </p:nvGrpSpPr>
        <p:grpSpPr bwMode="black">
          <a:xfrm>
            <a:off x="9951588" y="538699"/>
            <a:ext cx="1704301" cy="363146"/>
            <a:chOff x="9951588" y="538699"/>
            <a:chExt cx="1704301" cy="363146"/>
          </a:xfrm>
          <a:solidFill>
            <a:schemeClr val="bg1"/>
          </a:solidFill>
        </p:grpSpPr>
        <p:sp>
          <p:nvSpPr>
            <p:cNvPr id="6" name="Freeform: Shape 5">
              <a:extLst>
                <a:ext uri="{FF2B5EF4-FFF2-40B4-BE49-F238E27FC236}">
                  <a16:creationId xmlns:a16="http://schemas.microsoft.com/office/drawing/2014/main" id="{A53EE2A4-13E7-3913-138F-02405A646276}"/>
                </a:ext>
              </a:extLst>
            </p:cNvPr>
            <p:cNvSpPr/>
            <p:nvPr/>
          </p:nvSpPr>
          <p:spPr bwMode="black">
            <a:xfrm>
              <a:off x="10470746" y="642617"/>
              <a:ext cx="1185143" cy="207458"/>
            </a:xfrm>
            <a:custGeom>
              <a:avLst/>
              <a:gdLst>
                <a:gd name="connsiteX0" fmla="*/ 259606 w 1185143"/>
                <a:gd name="connsiteY0" fmla="*/ 138234 h 207458"/>
                <a:gd name="connsiteX1" fmla="*/ 311539 w 1185143"/>
                <a:gd name="connsiteY1" fmla="*/ 138234 h 207458"/>
                <a:gd name="connsiteX2" fmla="*/ 311539 w 1185143"/>
                <a:gd name="connsiteY2" fmla="*/ 103486 h 207458"/>
                <a:gd name="connsiteX3" fmla="*/ 259606 w 1185143"/>
                <a:gd name="connsiteY3" fmla="*/ 103486 h 207458"/>
                <a:gd name="connsiteX4" fmla="*/ 259606 w 1185143"/>
                <a:gd name="connsiteY4" fmla="*/ 138234 h 207458"/>
                <a:gd name="connsiteX5" fmla="*/ 787196 w 1185143"/>
                <a:gd name="connsiteY5" fmla="*/ 103756 h 207458"/>
                <a:gd name="connsiteX6" fmla="*/ 821943 w 1185143"/>
                <a:gd name="connsiteY6" fmla="*/ 103756 h 207458"/>
                <a:gd name="connsiteX7" fmla="*/ 821943 w 1185143"/>
                <a:gd name="connsiteY7" fmla="*/ 172981 h 207458"/>
                <a:gd name="connsiteX8" fmla="*/ 787196 w 1185143"/>
                <a:gd name="connsiteY8" fmla="*/ 172981 h 207458"/>
                <a:gd name="connsiteX9" fmla="*/ 787196 w 1185143"/>
                <a:gd name="connsiteY9" fmla="*/ 103756 h 207458"/>
                <a:gd name="connsiteX10" fmla="*/ 752718 w 1185143"/>
                <a:gd name="connsiteY10" fmla="*/ 69225 h 207458"/>
                <a:gd name="connsiteX11" fmla="*/ 735318 w 1185143"/>
                <a:gd name="connsiteY11" fmla="*/ 103756 h 207458"/>
                <a:gd name="connsiteX12" fmla="*/ 735318 w 1185143"/>
                <a:gd name="connsiteY12" fmla="*/ 172981 h 207458"/>
                <a:gd name="connsiteX13" fmla="*/ 752718 w 1185143"/>
                <a:gd name="connsiteY13" fmla="*/ 207458 h 207458"/>
                <a:gd name="connsiteX14" fmla="*/ 873821 w 1185143"/>
                <a:gd name="connsiteY14" fmla="*/ 207458 h 207458"/>
                <a:gd name="connsiteX15" fmla="*/ 873821 w 1185143"/>
                <a:gd name="connsiteY15" fmla="*/ 69225 h 207458"/>
                <a:gd name="connsiteX16" fmla="*/ 752718 w 1185143"/>
                <a:gd name="connsiteY16" fmla="*/ 69225 h 207458"/>
                <a:gd name="connsiteX17" fmla="*/ 977577 w 1185143"/>
                <a:gd name="connsiteY17" fmla="*/ 69225 h 207458"/>
                <a:gd name="connsiteX18" fmla="*/ 977577 w 1185143"/>
                <a:gd name="connsiteY18" fmla="*/ 207458 h 207458"/>
                <a:gd name="connsiteX19" fmla="*/ 1029455 w 1185143"/>
                <a:gd name="connsiteY19" fmla="*/ 207458 h 207458"/>
                <a:gd name="connsiteX20" fmla="*/ 1029455 w 1185143"/>
                <a:gd name="connsiteY20" fmla="*/ 103756 h 207458"/>
                <a:gd name="connsiteX21" fmla="*/ 1055394 w 1185143"/>
                <a:gd name="connsiteY21" fmla="*/ 103756 h 207458"/>
                <a:gd name="connsiteX22" fmla="*/ 1055394 w 1185143"/>
                <a:gd name="connsiteY22" fmla="*/ 207458 h 207458"/>
                <a:gd name="connsiteX23" fmla="*/ 1107273 w 1185143"/>
                <a:gd name="connsiteY23" fmla="*/ 207458 h 207458"/>
                <a:gd name="connsiteX24" fmla="*/ 1107273 w 1185143"/>
                <a:gd name="connsiteY24" fmla="*/ 103756 h 207458"/>
                <a:gd name="connsiteX25" fmla="*/ 1133266 w 1185143"/>
                <a:gd name="connsiteY25" fmla="*/ 103756 h 207458"/>
                <a:gd name="connsiteX26" fmla="*/ 1133266 w 1185143"/>
                <a:gd name="connsiteY26" fmla="*/ 207458 h 207458"/>
                <a:gd name="connsiteX27" fmla="*/ 1185144 w 1185143"/>
                <a:gd name="connsiteY27" fmla="*/ 207458 h 207458"/>
                <a:gd name="connsiteX28" fmla="*/ 1185144 w 1185143"/>
                <a:gd name="connsiteY28" fmla="*/ 103756 h 207458"/>
                <a:gd name="connsiteX29" fmla="*/ 1168013 w 1185143"/>
                <a:gd name="connsiteY29" fmla="*/ 69225 h 207458"/>
                <a:gd name="connsiteX30" fmla="*/ 977631 w 1185143"/>
                <a:gd name="connsiteY30" fmla="*/ 69225 h 207458"/>
                <a:gd name="connsiteX31" fmla="*/ 899760 w 1185143"/>
                <a:gd name="connsiteY31" fmla="*/ 207458 h 207458"/>
                <a:gd name="connsiteX32" fmla="*/ 951692 w 1185143"/>
                <a:gd name="connsiteY32" fmla="*/ 207458 h 207458"/>
                <a:gd name="connsiteX33" fmla="*/ 951692 w 1185143"/>
                <a:gd name="connsiteY33" fmla="*/ 69225 h 207458"/>
                <a:gd name="connsiteX34" fmla="*/ 899760 w 1185143"/>
                <a:gd name="connsiteY34" fmla="*/ 69009 h 207458"/>
                <a:gd name="connsiteX35" fmla="*/ 899760 w 1185143"/>
                <a:gd name="connsiteY35" fmla="*/ 207458 h 207458"/>
                <a:gd name="connsiteX36" fmla="*/ 112565 w 1185143"/>
                <a:gd name="connsiteY36" fmla="*/ 34477 h 207458"/>
                <a:gd name="connsiteX37" fmla="*/ 112565 w 1185143"/>
                <a:gd name="connsiteY37" fmla="*/ 103756 h 207458"/>
                <a:gd name="connsiteX38" fmla="*/ 86355 w 1185143"/>
                <a:gd name="connsiteY38" fmla="*/ 103756 h 207458"/>
                <a:gd name="connsiteX39" fmla="*/ 112565 w 1185143"/>
                <a:gd name="connsiteY39" fmla="*/ 34477 h 207458"/>
                <a:gd name="connsiteX40" fmla="*/ 69225 w 1185143"/>
                <a:gd name="connsiteY40" fmla="*/ 0 h 207458"/>
                <a:gd name="connsiteX41" fmla="*/ 0 w 1185143"/>
                <a:gd name="connsiteY41" fmla="*/ 207458 h 207458"/>
                <a:gd name="connsiteX42" fmla="*/ 51878 w 1185143"/>
                <a:gd name="connsiteY42" fmla="*/ 207458 h 207458"/>
                <a:gd name="connsiteX43" fmla="*/ 77817 w 1185143"/>
                <a:gd name="connsiteY43" fmla="*/ 138450 h 207458"/>
                <a:gd name="connsiteX44" fmla="*/ 112565 w 1185143"/>
                <a:gd name="connsiteY44" fmla="*/ 138450 h 207458"/>
                <a:gd name="connsiteX45" fmla="*/ 112565 w 1185143"/>
                <a:gd name="connsiteY45" fmla="*/ 207458 h 207458"/>
                <a:gd name="connsiteX46" fmla="*/ 164443 w 1185143"/>
                <a:gd name="connsiteY46" fmla="*/ 207458 h 207458"/>
                <a:gd name="connsiteX47" fmla="*/ 164443 w 1185143"/>
                <a:gd name="connsiteY47" fmla="*/ 0 h 207458"/>
                <a:gd name="connsiteX48" fmla="*/ 69225 w 1185143"/>
                <a:gd name="connsiteY48" fmla="*/ 0 h 207458"/>
                <a:gd name="connsiteX49" fmla="*/ 190328 w 1185143"/>
                <a:gd name="connsiteY49" fmla="*/ 207458 h 207458"/>
                <a:gd name="connsiteX50" fmla="*/ 242206 w 1185143"/>
                <a:gd name="connsiteY50" fmla="*/ 207458 h 207458"/>
                <a:gd name="connsiteX51" fmla="*/ 242206 w 1185143"/>
                <a:gd name="connsiteY51" fmla="*/ 0 h 207458"/>
                <a:gd name="connsiteX52" fmla="*/ 190328 w 1185143"/>
                <a:gd name="connsiteY52" fmla="*/ 0 h 207458"/>
                <a:gd name="connsiteX53" fmla="*/ 190328 w 1185143"/>
                <a:gd name="connsiteY53" fmla="*/ 207458 h 207458"/>
                <a:gd name="connsiteX54" fmla="*/ 328615 w 1185143"/>
                <a:gd name="connsiteY54" fmla="*/ 0 h 207458"/>
                <a:gd name="connsiteX55" fmla="*/ 328615 w 1185143"/>
                <a:gd name="connsiteY55" fmla="*/ 207458 h 207458"/>
                <a:gd name="connsiteX56" fmla="*/ 380493 w 1185143"/>
                <a:gd name="connsiteY56" fmla="*/ 207458 h 207458"/>
                <a:gd name="connsiteX57" fmla="*/ 380493 w 1185143"/>
                <a:gd name="connsiteY57" fmla="*/ 103756 h 207458"/>
                <a:gd name="connsiteX58" fmla="*/ 415295 w 1185143"/>
                <a:gd name="connsiteY58" fmla="*/ 103756 h 207458"/>
                <a:gd name="connsiteX59" fmla="*/ 415295 w 1185143"/>
                <a:gd name="connsiteY59" fmla="*/ 172981 h 207458"/>
                <a:gd name="connsiteX60" fmla="*/ 432641 w 1185143"/>
                <a:gd name="connsiteY60" fmla="*/ 207458 h 207458"/>
                <a:gd name="connsiteX61" fmla="*/ 553798 w 1185143"/>
                <a:gd name="connsiteY61" fmla="*/ 207458 h 207458"/>
                <a:gd name="connsiteX62" fmla="*/ 553798 w 1185143"/>
                <a:gd name="connsiteY62" fmla="*/ 103756 h 207458"/>
                <a:gd name="connsiteX63" fmla="*/ 579737 w 1185143"/>
                <a:gd name="connsiteY63" fmla="*/ 103756 h 207458"/>
                <a:gd name="connsiteX64" fmla="*/ 579737 w 1185143"/>
                <a:gd name="connsiteY64" fmla="*/ 207458 h 207458"/>
                <a:gd name="connsiteX65" fmla="*/ 631561 w 1185143"/>
                <a:gd name="connsiteY65" fmla="*/ 207458 h 207458"/>
                <a:gd name="connsiteX66" fmla="*/ 631561 w 1185143"/>
                <a:gd name="connsiteY66" fmla="*/ 103756 h 207458"/>
                <a:gd name="connsiteX67" fmla="*/ 657555 w 1185143"/>
                <a:gd name="connsiteY67" fmla="*/ 103756 h 207458"/>
                <a:gd name="connsiteX68" fmla="*/ 657555 w 1185143"/>
                <a:gd name="connsiteY68" fmla="*/ 207458 h 207458"/>
                <a:gd name="connsiteX69" fmla="*/ 709433 w 1185143"/>
                <a:gd name="connsiteY69" fmla="*/ 207458 h 207458"/>
                <a:gd name="connsiteX70" fmla="*/ 709433 w 1185143"/>
                <a:gd name="connsiteY70" fmla="*/ 103756 h 207458"/>
                <a:gd name="connsiteX71" fmla="*/ 735372 w 1185143"/>
                <a:gd name="connsiteY71" fmla="*/ 103756 h 207458"/>
                <a:gd name="connsiteX72" fmla="*/ 735372 w 1185143"/>
                <a:gd name="connsiteY72" fmla="*/ 69225 h 207458"/>
                <a:gd name="connsiteX73" fmla="*/ 709433 w 1185143"/>
                <a:gd name="connsiteY73" fmla="*/ 69225 h 207458"/>
                <a:gd name="connsiteX74" fmla="*/ 709433 w 1185143"/>
                <a:gd name="connsiteY74" fmla="*/ 34477 h 207458"/>
                <a:gd name="connsiteX75" fmla="*/ 657555 w 1185143"/>
                <a:gd name="connsiteY75" fmla="*/ 34477 h 207458"/>
                <a:gd name="connsiteX76" fmla="*/ 657555 w 1185143"/>
                <a:gd name="connsiteY76" fmla="*/ 69225 h 207458"/>
                <a:gd name="connsiteX77" fmla="*/ 631561 w 1185143"/>
                <a:gd name="connsiteY77" fmla="*/ 69225 h 207458"/>
                <a:gd name="connsiteX78" fmla="*/ 631561 w 1185143"/>
                <a:gd name="connsiteY78" fmla="*/ 34477 h 207458"/>
                <a:gd name="connsiteX79" fmla="*/ 579737 w 1185143"/>
                <a:gd name="connsiteY79" fmla="*/ 34477 h 207458"/>
                <a:gd name="connsiteX80" fmla="*/ 579737 w 1185143"/>
                <a:gd name="connsiteY80" fmla="*/ 69225 h 207458"/>
                <a:gd name="connsiteX81" fmla="*/ 501650 w 1185143"/>
                <a:gd name="connsiteY81" fmla="*/ 69225 h 207458"/>
                <a:gd name="connsiteX82" fmla="*/ 501650 w 1185143"/>
                <a:gd name="connsiteY82" fmla="*/ 172927 h 207458"/>
                <a:gd name="connsiteX83" fmla="*/ 467173 w 1185143"/>
                <a:gd name="connsiteY83" fmla="*/ 172927 h 207458"/>
                <a:gd name="connsiteX84" fmla="*/ 467173 w 1185143"/>
                <a:gd name="connsiteY84" fmla="*/ 69225 h 207458"/>
                <a:gd name="connsiteX85" fmla="*/ 380547 w 1185143"/>
                <a:gd name="connsiteY85" fmla="*/ 69225 h 207458"/>
                <a:gd name="connsiteX86" fmla="*/ 380547 w 1185143"/>
                <a:gd name="connsiteY86" fmla="*/ 34477 h 207458"/>
                <a:gd name="connsiteX87" fmla="*/ 467173 w 1185143"/>
                <a:gd name="connsiteY87" fmla="*/ 34477 h 207458"/>
                <a:gd name="connsiteX88" fmla="*/ 467173 w 1185143"/>
                <a:gd name="connsiteY88" fmla="*/ 0 h 207458"/>
                <a:gd name="connsiteX89" fmla="*/ 328669 w 1185143"/>
                <a:gd name="connsiteY89" fmla="*/ 0 h 207458"/>
                <a:gd name="connsiteX90" fmla="*/ 899760 w 1185143"/>
                <a:gd name="connsiteY90" fmla="*/ 34477 h 207458"/>
                <a:gd name="connsiteX91" fmla="*/ 951692 w 1185143"/>
                <a:gd name="connsiteY91" fmla="*/ 34477 h 207458"/>
                <a:gd name="connsiteX92" fmla="*/ 951692 w 1185143"/>
                <a:gd name="connsiteY92" fmla="*/ 0 h 207458"/>
                <a:gd name="connsiteX93" fmla="*/ 899760 w 1185143"/>
                <a:gd name="connsiteY93" fmla="*/ 0 h 207458"/>
                <a:gd name="connsiteX94" fmla="*/ 899760 w 1185143"/>
                <a:gd name="connsiteY94" fmla="*/ 34477 h 2074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</a:cxnLst>
              <a:rect l="l" t="t" r="r" b="b"/>
              <a:pathLst>
                <a:path w="1185143" h="207458">
                  <a:moveTo>
                    <a:pt x="259606" y="138234"/>
                  </a:moveTo>
                  <a:lnTo>
                    <a:pt x="311539" y="138234"/>
                  </a:lnTo>
                  <a:lnTo>
                    <a:pt x="311539" y="103486"/>
                  </a:lnTo>
                  <a:lnTo>
                    <a:pt x="259606" y="103486"/>
                  </a:lnTo>
                  <a:lnTo>
                    <a:pt x="259606" y="138234"/>
                  </a:lnTo>
                  <a:close/>
                  <a:moveTo>
                    <a:pt x="787196" y="103756"/>
                  </a:moveTo>
                  <a:lnTo>
                    <a:pt x="821943" y="103756"/>
                  </a:lnTo>
                  <a:lnTo>
                    <a:pt x="821943" y="172981"/>
                  </a:lnTo>
                  <a:lnTo>
                    <a:pt x="787196" y="172981"/>
                  </a:lnTo>
                  <a:lnTo>
                    <a:pt x="787196" y="103756"/>
                  </a:lnTo>
                  <a:close/>
                  <a:moveTo>
                    <a:pt x="752718" y="69225"/>
                  </a:moveTo>
                  <a:lnTo>
                    <a:pt x="735318" y="103756"/>
                  </a:lnTo>
                  <a:lnTo>
                    <a:pt x="735318" y="172981"/>
                  </a:lnTo>
                  <a:lnTo>
                    <a:pt x="752718" y="207458"/>
                  </a:lnTo>
                  <a:lnTo>
                    <a:pt x="873821" y="207458"/>
                  </a:lnTo>
                  <a:lnTo>
                    <a:pt x="873821" y="69225"/>
                  </a:lnTo>
                  <a:lnTo>
                    <a:pt x="752718" y="69225"/>
                  </a:lnTo>
                  <a:close/>
                  <a:moveTo>
                    <a:pt x="977577" y="69225"/>
                  </a:moveTo>
                  <a:lnTo>
                    <a:pt x="977577" y="207458"/>
                  </a:lnTo>
                  <a:lnTo>
                    <a:pt x="1029455" y="207458"/>
                  </a:lnTo>
                  <a:lnTo>
                    <a:pt x="1029455" y="103756"/>
                  </a:lnTo>
                  <a:lnTo>
                    <a:pt x="1055394" y="103756"/>
                  </a:lnTo>
                  <a:lnTo>
                    <a:pt x="1055394" y="207458"/>
                  </a:lnTo>
                  <a:lnTo>
                    <a:pt x="1107273" y="207458"/>
                  </a:lnTo>
                  <a:lnTo>
                    <a:pt x="1107273" y="103756"/>
                  </a:lnTo>
                  <a:lnTo>
                    <a:pt x="1133266" y="103756"/>
                  </a:lnTo>
                  <a:lnTo>
                    <a:pt x="1133266" y="207458"/>
                  </a:lnTo>
                  <a:lnTo>
                    <a:pt x="1185144" y="207458"/>
                  </a:lnTo>
                  <a:lnTo>
                    <a:pt x="1185144" y="103756"/>
                  </a:lnTo>
                  <a:lnTo>
                    <a:pt x="1168013" y="69225"/>
                  </a:lnTo>
                  <a:lnTo>
                    <a:pt x="977631" y="69225"/>
                  </a:lnTo>
                  <a:close/>
                  <a:moveTo>
                    <a:pt x="899760" y="207458"/>
                  </a:moveTo>
                  <a:lnTo>
                    <a:pt x="951692" y="207458"/>
                  </a:lnTo>
                  <a:lnTo>
                    <a:pt x="951692" y="69225"/>
                  </a:lnTo>
                  <a:lnTo>
                    <a:pt x="899760" y="69009"/>
                  </a:lnTo>
                  <a:lnTo>
                    <a:pt x="899760" y="207458"/>
                  </a:lnTo>
                  <a:close/>
                  <a:moveTo>
                    <a:pt x="112565" y="34477"/>
                  </a:moveTo>
                  <a:lnTo>
                    <a:pt x="112565" y="103756"/>
                  </a:lnTo>
                  <a:lnTo>
                    <a:pt x="86355" y="103756"/>
                  </a:lnTo>
                  <a:lnTo>
                    <a:pt x="112565" y="34477"/>
                  </a:lnTo>
                  <a:close/>
                  <a:moveTo>
                    <a:pt x="69225" y="0"/>
                  </a:moveTo>
                  <a:lnTo>
                    <a:pt x="0" y="207458"/>
                  </a:lnTo>
                  <a:lnTo>
                    <a:pt x="51878" y="207458"/>
                  </a:lnTo>
                  <a:lnTo>
                    <a:pt x="77817" y="138450"/>
                  </a:lnTo>
                  <a:lnTo>
                    <a:pt x="112565" y="138450"/>
                  </a:lnTo>
                  <a:lnTo>
                    <a:pt x="112565" y="207458"/>
                  </a:lnTo>
                  <a:lnTo>
                    <a:pt x="164443" y="207458"/>
                  </a:lnTo>
                  <a:lnTo>
                    <a:pt x="164443" y="0"/>
                  </a:lnTo>
                  <a:lnTo>
                    <a:pt x="69225" y="0"/>
                  </a:lnTo>
                  <a:close/>
                  <a:moveTo>
                    <a:pt x="190328" y="207458"/>
                  </a:moveTo>
                  <a:lnTo>
                    <a:pt x="242206" y="207458"/>
                  </a:lnTo>
                  <a:lnTo>
                    <a:pt x="242206" y="0"/>
                  </a:lnTo>
                  <a:lnTo>
                    <a:pt x="190328" y="0"/>
                  </a:lnTo>
                  <a:lnTo>
                    <a:pt x="190328" y="207458"/>
                  </a:lnTo>
                  <a:close/>
                  <a:moveTo>
                    <a:pt x="328615" y="0"/>
                  </a:moveTo>
                  <a:lnTo>
                    <a:pt x="328615" y="207458"/>
                  </a:lnTo>
                  <a:lnTo>
                    <a:pt x="380493" y="207458"/>
                  </a:lnTo>
                  <a:lnTo>
                    <a:pt x="380493" y="103756"/>
                  </a:lnTo>
                  <a:lnTo>
                    <a:pt x="415295" y="103756"/>
                  </a:lnTo>
                  <a:lnTo>
                    <a:pt x="415295" y="172981"/>
                  </a:lnTo>
                  <a:lnTo>
                    <a:pt x="432641" y="207458"/>
                  </a:lnTo>
                  <a:lnTo>
                    <a:pt x="553798" y="207458"/>
                  </a:lnTo>
                  <a:lnTo>
                    <a:pt x="553798" y="103756"/>
                  </a:lnTo>
                  <a:lnTo>
                    <a:pt x="579737" y="103756"/>
                  </a:lnTo>
                  <a:lnTo>
                    <a:pt x="579737" y="207458"/>
                  </a:lnTo>
                  <a:lnTo>
                    <a:pt x="631561" y="207458"/>
                  </a:lnTo>
                  <a:lnTo>
                    <a:pt x="631561" y="103756"/>
                  </a:lnTo>
                  <a:lnTo>
                    <a:pt x="657555" y="103756"/>
                  </a:lnTo>
                  <a:lnTo>
                    <a:pt x="657555" y="207458"/>
                  </a:lnTo>
                  <a:lnTo>
                    <a:pt x="709433" y="207458"/>
                  </a:lnTo>
                  <a:lnTo>
                    <a:pt x="709433" y="103756"/>
                  </a:lnTo>
                  <a:lnTo>
                    <a:pt x="735372" y="103756"/>
                  </a:lnTo>
                  <a:lnTo>
                    <a:pt x="735372" y="69225"/>
                  </a:lnTo>
                  <a:lnTo>
                    <a:pt x="709433" y="69225"/>
                  </a:lnTo>
                  <a:lnTo>
                    <a:pt x="709433" y="34477"/>
                  </a:lnTo>
                  <a:lnTo>
                    <a:pt x="657555" y="34477"/>
                  </a:lnTo>
                  <a:lnTo>
                    <a:pt x="657555" y="69225"/>
                  </a:lnTo>
                  <a:lnTo>
                    <a:pt x="631561" y="69225"/>
                  </a:lnTo>
                  <a:lnTo>
                    <a:pt x="631561" y="34477"/>
                  </a:lnTo>
                  <a:lnTo>
                    <a:pt x="579737" y="34477"/>
                  </a:lnTo>
                  <a:lnTo>
                    <a:pt x="579737" y="69225"/>
                  </a:lnTo>
                  <a:lnTo>
                    <a:pt x="501650" y="69225"/>
                  </a:lnTo>
                  <a:lnTo>
                    <a:pt x="501650" y="172927"/>
                  </a:lnTo>
                  <a:lnTo>
                    <a:pt x="467173" y="172927"/>
                  </a:lnTo>
                  <a:lnTo>
                    <a:pt x="467173" y="69225"/>
                  </a:lnTo>
                  <a:lnTo>
                    <a:pt x="380547" y="69225"/>
                  </a:lnTo>
                  <a:lnTo>
                    <a:pt x="380547" y="34477"/>
                  </a:lnTo>
                  <a:lnTo>
                    <a:pt x="467173" y="34477"/>
                  </a:lnTo>
                  <a:lnTo>
                    <a:pt x="467173" y="0"/>
                  </a:lnTo>
                  <a:lnTo>
                    <a:pt x="328669" y="0"/>
                  </a:lnTo>
                  <a:close/>
                  <a:moveTo>
                    <a:pt x="899760" y="34477"/>
                  </a:moveTo>
                  <a:lnTo>
                    <a:pt x="951692" y="34477"/>
                  </a:lnTo>
                  <a:lnTo>
                    <a:pt x="951692" y="0"/>
                  </a:lnTo>
                  <a:lnTo>
                    <a:pt x="899760" y="0"/>
                  </a:lnTo>
                  <a:lnTo>
                    <a:pt x="899760" y="34477"/>
                  </a:lnTo>
                  <a:close/>
                </a:path>
              </a:pathLst>
            </a:custGeom>
            <a:grpFill/>
            <a:ln w="538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" name="Freeform: Shape 6">
              <a:extLst>
                <a:ext uri="{FF2B5EF4-FFF2-40B4-BE49-F238E27FC236}">
                  <a16:creationId xmlns:a16="http://schemas.microsoft.com/office/drawing/2014/main" id="{ECFCF2DD-9797-EBB7-4082-203876D5AF01}"/>
                </a:ext>
              </a:extLst>
            </p:cNvPr>
            <p:cNvSpPr/>
            <p:nvPr/>
          </p:nvSpPr>
          <p:spPr bwMode="black">
            <a:xfrm>
              <a:off x="9951588" y="538699"/>
              <a:ext cx="415348" cy="363146"/>
            </a:xfrm>
            <a:custGeom>
              <a:avLst/>
              <a:gdLst>
                <a:gd name="connsiteX0" fmla="*/ 156175 w 415348"/>
                <a:gd name="connsiteY0" fmla="*/ 155526 h 363146"/>
                <a:gd name="connsiteX1" fmla="*/ 207782 w 415348"/>
                <a:gd name="connsiteY1" fmla="*/ 103864 h 363146"/>
                <a:gd name="connsiteX2" fmla="*/ 259390 w 415348"/>
                <a:gd name="connsiteY2" fmla="*/ 155526 h 363146"/>
                <a:gd name="connsiteX3" fmla="*/ 207782 w 415348"/>
                <a:gd name="connsiteY3" fmla="*/ 207296 h 363146"/>
                <a:gd name="connsiteX4" fmla="*/ 156175 w 415348"/>
                <a:gd name="connsiteY4" fmla="*/ 155526 h 363146"/>
                <a:gd name="connsiteX5" fmla="*/ 207782 w 415348"/>
                <a:gd name="connsiteY5" fmla="*/ 0 h 363146"/>
                <a:gd name="connsiteX6" fmla="*/ 0 w 415348"/>
                <a:gd name="connsiteY6" fmla="*/ 207350 h 363146"/>
                <a:gd name="connsiteX7" fmla="*/ 51986 w 415348"/>
                <a:gd name="connsiteY7" fmla="*/ 259228 h 363146"/>
                <a:gd name="connsiteX8" fmla="*/ 104134 w 415348"/>
                <a:gd name="connsiteY8" fmla="*/ 207512 h 363146"/>
                <a:gd name="connsiteX9" fmla="*/ 155904 w 415348"/>
                <a:gd name="connsiteY9" fmla="*/ 259499 h 363146"/>
                <a:gd name="connsiteX10" fmla="*/ 103810 w 415348"/>
                <a:gd name="connsiteY10" fmla="*/ 311593 h 363146"/>
                <a:gd name="connsiteX11" fmla="*/ 155904 w 415348"/>
                <a:gd name="connsiteY11" fmla="*/ 363147 h 363146"/>
                <a:gd name="connsiteX12" fmla="*/ 206810 w 415348"/>
                <a:gd name="connsiteY12" fmla="*/ 311431 h 363146"/>
                <a:gd name="connsiteX13" fmla="*/ 259823 w 415348"/>
                <a:gd name="connsiteY13" fmla="*/ 363147 h 363146"/>
                <a:gd name="connsiteX14" fmla="*/ 311485 w 415348"/>
                <a:gd name="connsiteY14" fmla="*/ 311431 h 363146"/>
                <a:gd name="connsiteX15" fmla="*/ 259823 w 415348"/>
                <a:gd name="connsiteY15" fmla="*/ 259769 h 363146"/>
                <a:gd name="connsiteX16" fmla="*/ 312025 w 415348"/>
                <a:gd name="connsiteY16" fmla="*/ 207512 h 363146"/>
                <a:gd name="connsiteX17" fmla="*/ 363633 w 415348"/>
                <a:gd name="connsiteY17" fmla="*/ 259228 h 363146"/>
                <a:gd name="connsiteX18" fmla="*/ 415349 w 415348"/>
                <a:gd name="connsiteY18" fmla="*/ 207512 h 363146"/>
                <a:gd name="connsiteX19" fmla="*/ 207782 w 415348"/>
                <a:gd name="connsiteY19" fmla="*/ 0 h 3631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415348" h="363146">
                  <a:moveTo>
                    <a:pt x="156175" y="155526"/>
                  </a:moveTo>
                  <a:lnTo>
                    <a:pt x="207782" y="103864"/>
                  </a:lnTo>
                  <a:lnTo>
                    <a:pt x="259390" y="155526"/>
                  </a:lnTo>
                  <a:lnTo>
                    <a:pt x="207782" y="207296"/>
                  </a:lnTo>
                  <a:lnTo>
                    <a:pt x="156175" y="155526"/>
                  </a:lnTo>
                  <a:close/>
                  <a:moveTo>
                    <a:pt x="207782" y="0"/>
                  </a:moveTo>
                  <a:lnTo>
                    <a:pt x="0" y="207350"/>
                  </a:lnTo>
                  <a:lnTo>
                    <a:pt x="51986" y="259228"/>
                  </a:lnTo>
                  <a:lnTo>
                    <a:pt x="104134" y="207512"/>
                  </a:lnTo>
                  <a:lnTo>
                    <a:pt x="155904" y="259499"/>
                  </a:lnTo>
                  <a:lnTo>
                    <a:pt x="103810" y="311593"/>
                  </a:lnTo>
                  <a:lnTo>
                    <a:pt x="155904" y="363147"/>
                  </a:lnTo>
                  <a:lnTo>
                    <a:pt x="206810" y="311431"/>
                  </a:lnTo>
                  <a:lnTo>
                    <a:pt x="259823" y="363147"/>
                  </a:lnTo>
                  <a:lnTo>
                    <a:pt x="311485" y="311431"/>
                  </a:lnTo>
                  <a:lnTo>
                    <a:pt x="259823" y="259769"/>
                  </a:lnTo>
                  <a:lnTo>
                    <a:pt x="312025" y="207512"/>
                  </a:lnTo>
                  <a:lnTo>
                    <a:pt x="363633" y="259228"/>
                  </a:lnTo>
                  <a:lnTo>
                    <a:pt x="415349" y="207512"/>
                  </a:lnTo>
                  <a:lnTo>
                    <a:pt x="207782" y="0"/>
                  </a:lnTo>
                  <a:close/>
                </a:path>
              </a:pathLst>
            </a:custGeom>
            <a:solidFill>
              <a:schemeClr val="accent2"/>
            </a:solidFill>
            <a:ln w="538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48874187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855" userDrawn="1">
          <p15:clr>
            <a:srgbClr val="FBAE40"/>
          </p15:clr>
        </p15:guide>
        <p15:guide id="2" pos="5081" userDrawn="1">
          <p15:clr>
            <a:srgbClr val="FBAE40"/>
          </p15:clr>
        </p15:guide>
        <p15:guide id="3" orient="horz" pos="2330" userDrawn="1">
          <p15:clr>
            <a:srgbClr val="FBAE40"/>
          </p15:clr>
        </p15:guide>
        <p15:guide id="4" orient="horz" pos="2500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Slide_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A597281-ABB7-066F-7A10-EF9E1776C1D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068002" y="3968750"/>
            <a:ext cx="3584248" cy="775597"/>
          </a:xfrm>
        </p:spPr>
        <p:txBody>
          <a:bodyPr>
            <a:spAutoFit/>
          </a:bodyPr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ease insert </a:t>
            </a:r>
            <a:r>
              <a:rPr lang="en-US" dirty="0" err="1"/>
              <a:t>Chaptername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2D61B8B-D6CA-BCE6-71B4-5C8A439C247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3109594-1B45-46DB-8A0B-416F125317D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7B82DAD-1AFC-2023-BB91-5E7F5BD2C6D0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AB7722E2-F33E-448F-90AF-AA26FB11B3A2}" type="datetime1">
              <a:rPr lang="en-US" smtClean="0"/>
              <a:t>21/08/2025</a:t>
            </a:fld>
            <a:endParaRPr lang="en-US" dirty="0"/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067D27C3-EAAD-645A-5694-915755BD857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068002" y="3267988"/>
            <a:ext cx="3584248" cy="430887"/>
          </a:xfrm>
        </p:spPr>
        <p:txBody>
          <a:bodyPr anchor="b">
            <a:spAutoFit/>
          </a:bodyPr>
          <a:lstStyle>
            <a:lvl1pPr>
              <a:defRPr sz="28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01</a:t>
            </a:r>
          </a:p>
        </p:txBody>
      </p:sp>
      <p:sp>
        <p:nvSpPr>
          <p:cNvPr id="24" name="Picture Placeholder 23">
            <a:extLst>
              <a:ext uri="{FF2B5EF4-FFF2-40B4-BE49-F238E27FC236}">
                <a16:creationId xmlns:a16="http://schemas.microsoft.com/office/drawing/2014/main" id="{8CB05548-1B60-6192-73CB-55868E6B189D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7707313" cy="6858000"/>
          </a:xfrm>
          <a:solidFill>
            <a:schemeClr val="accent4"/>
          </a:solidFill>
        </p:spPr>
        <p:txBody>
          <a:bodyPr/>
          <a:lstStyle/>
          <a:p>
            <a:r>
              <a:rPr lang="en-US"/>
              <a:t>Click to insert 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997368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855" userDrawn="1">
          <p15:clr>
            <a:srgbClr val="FBAE40"/>
          </p15:clr>
        </p15:guide>
        <p15:guide id="2" pos="5081" userDrawn="1">
          <p15:clr>
            <a:srgbClr val="FBAE40"/>
          </p15:clr>
        </p15:guide>
        <p15:guide id="3" orient="horz" pos="2330" userDrawn="1">
          <p15:clr>
            <a:srgbClr val="FBAE40"/>
          </p15:clr>
        </p15:guide>
        <p15:guide id="4" orient="horz" pos="2500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 Slide_empty_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A597281-ABB7-066F-7A10-EF9E1776C1D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Please insert a Headlin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BABAA35-1304-A3EC-A9C3-854E14C4664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Al-Futtaim Template 2025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2D61B8B-D6CA-BCE6-71B4-5C8A439C247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3109594-1B45-46DB-8A0B-416F125317D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7B82DAD-1AFC-2023-BB91-5E7F5BD2C6D0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9DA5A66-7580-4124-9831-0A2A06E108DB}" type="datetime1">
              <a:rPr lang="en-US" smtClean="0"/>
              <a:t>21/08/2025</a:t>
            </a:fld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8B4C8F2A-2924-AB97-B224-E2E3A1F3CEA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39750" y="927799"/>
            <a:ext cx="9229725" cy="388937"/>
          </a:xfrm>
        </p:spPr>
        <p:txBody>
          <a:bodyPr>
            <a:noAutofit/>
          </a:bodyPr>
          <a:lstStyle>
            <a:lvl1pPr>
              <a:defRPr sz="28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Please insert a </a:t>
            </a:r>
            <a:r>
              <a:rPr lang="en-US" dirty="0" err="1"/>
              <a:t>Subheadline</a:t>
            </a:r>
            <a:endParaRPr lang="en-US" dirty="0"/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4206CEE7-7789-CB91-EF4D-3B100C9CE898}"/>
              </a:ext>
            </a:extLst>
          </p:cNvPr>
          <p:cNvGrpSpPr/>
          <p:nvPr userDrawn="1"/>
        </p:nvGrpSpPr>
        <p:grpSpPr bwMode="black">
          <a:xfrm>
            <a:off x="9951588" y="538699"/>
            <a:ext cx="1704301" cy="363146"/>
            <a:chOff x="9951588" y="538699"/>
            <a:chExt cx="1704301" cy="363146"/>
          </a:xfrm>
          <a:solidFill>
            <a:schemeClr val="bg1"/>
          </a:solidFill>
        </p:grpSpPr>
        <p:sp>
          <p:nvSpPr>
            <p:cNvPr id="8" name="Freeform: Shape 7">
              <a:extLst>
                <a:ext uri="{FF2B5EF4-FFF2-40B4-BE49-F238E27FC236}">
                  <a16:creationId xmlns:a16="http://schemas.microsoft.com/office/drawing/2014/main" id="{0E5AA8AB-2619-D1A1-94A8-5450D8107697}"/>
                </a:ext>
              </a:extLst>
            </p:cNvPr>
            <p:cNvSpPr/>
            <p:nvPr/>
          </p:nvSpPr>
          <p:spPr bwMode="black">
            <a:xfrm>
              <a:off x="10470746" y="642617"/>
              <a:ext cx="1185143" cy="207458"/>
            </a:xfrm>
            <a:custGeom>
              <a:avLst/>
              <a:gdLst>
                <a:gd name="connsiteX0" fmla="*/ 259606 w 1185143"/>
                <a:gd name="connsiteY0" fmla="*/ 138234 h 207458"/>
                <a:gd name="connsiteX1" fmla="*/ 311539 w 1185143"/>
                <a:gd name="connsiteY1" fmla="*/ 138234 h 207458"/>
                <a:gd name="connsiteX2" fmla="*/ 311539 w 1185143"/>
                <a:gd name="connsiteY2" fmla="*/ 103486 h 207458"/>
                <a:gd name="connsiteX3" fmla="*/ 259606 w 1185143"/>
                <a:gd name="connsiteY3" fmla="*/ 103486 h 207458"/>
                <a:gd name="connsiteX4" fmla="*/ 259606 w 1185143"/>
                <a:gd name="connsiteY4" fmla="*/ 138234 h 207458"/>
                <a:gd name="connsiteX5" fmla="*/ 787196 w 1185143"/>
                <a:gd name="connsiteY5" fmla="*/ 103756 h 207458"/>
                <a:gd name="connsiteX6" fmla="*/ 821943 w 1185143"/>
                <a:gd name="connsiteY6" fmla="*/ 103756 h 207458"/>
                <a:gd name="connsiteX7" fmla="*/ 821943 w 1185143"/>
                <a:gd name="connsiteY7" fmla="*/ 172981 h 207458"/>
                <a:gd name="connsiteX8" fmla="*/ 787196 w 1185143"/>
                <a:gd name="connsiteY8" fmla="*/ 172981 h 207458"/>
                <a:gd name="connsiteX9" fmla="*/ 787196 w 1185143"/>
                <a:gd name="connsiteY9" fmla="*/ 103756 h 207458"/>
                <a:gd name="connsiteX10" fmla="*/ 752718 w 1185143"/>
                <a:gd name="connsiteY10" fmla="*/ 69225 h 207458"/>
                <a:gd name="connsiteX11" fmla="*/ 735318 w 1185143"/>
                <a:gd name="connsiteY11" fmla="*/ 103756 h 207458"/>
                <a:gd name="connsiteX12" fmla="*/ 735318 w 1185143"/>
                <a:gd name="connsiteY12" fmla="*/ 172981 h 207458"/>
                <a:gd name="connsiteX13" fmla="*/ 752718 w 1185143"/>
                <a:gd name="connsiteY13" fmla="*/ 207458 h 207458"/>
                <a:gd name="connsiteX14" fmla="*/ 873821 w 1185143"/>
                <a:gd name="connsiteY14" fmla="*/ 207458 h 207458"/>
                <a:gd name="connsiteX15" fmla="*/ 873821 w 1185143"/>
                <a:gd name="connsiteY15" fmla="*/ 69225 h 207458"/>
                <a:gd name="connsiteX16" fmla="*/ 752718 w 1185143"/>
                <a:gd name="connsiteY16" fmla="*/ 69225 h 207458"/>
                <a:gd name="connsiteX17" fmla="*/ 977577 w 1185143"/>
                <a:gd name="connsiteY17" fmla="*/ 69225 h 207458"/>
                <a:gd name="connsiteX18" fmla="*/ 977577 w 1185143"/>
                <a:gd name="connsiteY18" fmla="*/ 207458 h 207458"/>
                <a:gd name="connsiteX19" fmla="*/ 1029455 w 1185143"/>
                <a:gd name="connsiteY19" fmla="*/ 207458 h 207458"/>
                <a:gd name="connsiteX20" fmla="*/ 1029455 w 1185143"/>
                <a:gd name="connsiteY20" fmla="*/ 103756 h 207458"/>
                <a:gd name="connsiteX21" fmla="*/ 1055394 w 1185143"/>
                <a:gd name="connsiteY21" fmla="*/ 103756 h 207458"/>
                <a:gd name="connsiteX22" fmla="*/ 1055394 w 1185143"/>
                <a:gd name="connsiteY22" fmla="*/ 207458 h 207458"/>
                <a:gd name="connsiteX23" fmla="*/ 1107273 w 1185143"/>
                <a:gd name="connsiteY23" fmla="*/ 207458 h 207458"/>
                <a:gd name="connsiteX24" fmla="*/ 1107273 w 1185143"/>
                <a:gd name="connsiteY24" fmla="*/ 103756 h 207458"/>
                <a:gd name="connsiteX25" fmla="*/ 1133266 w 1185143"/>
                <a:gd name="connsiteY25" fmla="*/ 103756 h 207458"/>
                <a:gd name="connsiteX26" fmla="*/ 1133266 w 1185143"/>
                <a:gd name="connsiteY26" fmla="*/ 207458 h 207458"/>
                <a:gd name="connsiteX27" fmla="*/ 1185144 w 1185143"/>
                <a:gd name="connsiteY27" fmla="*/ 207458 h 207458"/>
                <a:gd name="connsiteX28" fmla="*/ 1185144 w 1185143"/>
                <a:gd name="connsiteY28" fmla="*/ 103756 h 207458"/>
                <a:gd name="connsiteX29" fmla="*/ 1168013 w 1185143"/>
                <a:gd name="connsiteY29" fmla="*/ 69225 h 207458"/>
                <a:gd name="connsiteX30" fmla="*/ 977631 w 1185143"/>
                <a:gd name="connsiteY30" fmla="*/ 69225 h 207458"/>
                <a:gd name="connsiteX31" fmla="*/ 899760 w 1185143"/>
                <a:gd name="connsiteY31" fmla="*/ 207458 h 207458"/>
                <a:gd name="connsiteX32" fmla="*/ 951692 w 1185143"/>
                <a:gd name="connsiteY32" fmla="*/ 207458 h 207458"/>
                <a:gd name="connsiteX33" fmla="*/ 951692 w 1185143"/>
                <a:gd name="connsiteY33" fmla="*/ 69225 h 207458"/>
                <a:gd name="connsiteX34" fmla="*/ 899760 w 1185143"/>
                <a:gd name="connsiteY34" fmla="*/ 69009 h 207458"/>
                <a:gd name="connsiteX35" fmla="*/ 899760 w 1185143"/>
                <a:gd name="connsiteY35" fmla="*/ 207458 h 207458"/>
                <a:gd name="connsiteX36" fmla="*/ 112565 w 1185143"/>
                <a:gd name="connsiteY36" fmla="*/ 34477 h 207458"/>
                <a:gd name="connsiteX37" fmla="*/ 112565 w 1185143"/>
                <a:gd name="connsiteY37" fmla="*/ 103756 h 207458"/>
                <a:gd name="connsiteX38" fmla="*/ 86355 w 1185143"/>
                <a:gd name="connsiteY38" fmla="*/ 103756 h 207458"/>
                <a:gd name="connsiteX39" fmla="*/ 112565 w 1185143"/>
                <a:gd name="connsiteY39" fmla="*/ 34477 h 207458"/>
                <a:gd name="connsiteX40" fmla="*/ 69225 w 1185143"/>
                <a:gd name="connsiteY40" fmla="*/ 0 h 207458"/>
                <a:gd name="connsiteX41" fmla="*/ 0 w 1185143"/>
                <a:gd name="connsiteY41" fmla="*/ 207458 h 207458"/>
                <a:gd name="connsiteX42" fmla="*/ 51878 w 1185143"/>
                <a:gd name="connsiteY42" fmla="*/ 207458 h 207458"/>
                <a:gd name="connsiteX43" fmla="*/ 77817 w 1185143"/>
                <a:gd name="connsiteY43" fmla="*/ 138450 h 207458"/>
                <a:gd name="connsiteX44" fmla="*/ 112565 w 1185143"/>
                <a:gd name="connsiteY44" fmla="*/ 138450 h 207458"/>
                <a:gd name="connsiteX45" fmla="*/ 112565 w 1185143"/>
                <a:gd name="connsiteY45" fmla="*/ 207458 h 207458"/>
                <a:gd name="connsiteX46" fmla="*/ 164443 w 1185143"/>
                <a:gd name="connsiteY46" fmla="*/ 207458 h 207458"/>
                <a:gd name="connsiteX47" fmla="*/ 164443 w 1185143"/>
                <a:gd name="connsiteY47" fmla="*/ 0 h 207458"/>
                <a:gd name="connsiteX48" fmla="*/ 69225 w 1185143"/>
                <a:gd name="connsiteY48" fmla="*/ 0 h 207458"/>
                <a:gd name="connsiteX49" fmla="*/ 190328 w 1185143"/>
                <a:gd name="connsiteY49" fmla="*/ 207458 h 207458"/>
                <a:gd name="connsiteX50" fmla="*/ 242206 w 1185143"/>
                <a:gd name="connsiteY50" fmla="*/ 207458 h 207458"/>
                <a:gd name="connsiteX51" fmla="*/ 242206 w 1185143"/>
                <a:gd name="connsiteY51" fmla="*/ 0 h 207458"/>
                <a:gd name="connsiteX52" fmla="*/ 190328 w 1185143"/>
                <a:gd name="connsiteY52" fmla="*/ 0 h 207458"/>
                <a:gd name="connsiteX53" fmla="*/ 190328 w 1185143"/>
                <a:gd name="connsiteY53" fmla="*/ 207458 h 207458"/>
                <a:gd name="connsiteX54" fmla="*/ 328615 w 1185143"/>
                <a:gd name="connsiteY54" fmla="*/ 0 h 207458"/>
                <a:gd name="connsiteX55" fmla="*/ 328615 w 1185143"/>
                <a:gd name="connsiteY55" fmla="*/ 207458 h 207458"/>
                <a:gd name="connsiteX56" fmla="*/ 380493 w 1185143"/>
                <a:gd name="connsiteY56" fmla="*/ 207458 h 207458"/>
                <a:gd name="connsiteX57" fmla="*/ 380493 w 1185143"/>
                <a:gd name="connsiteY57" fmla="*/ 103756 h 207458"/>
                <a:gd name="connsiteX58" fmla="*/ 415295 w 1185143"/>
                <a:gd name="connsiteY58" fmla="*/ 103756 h 207458"/>
                <a:gd name="connsiteX59" fmla="*/ 415295 w 1185143"/>
                <a:gd name="connsiteY59" fmla="*/ 172981 h 207458"/>
                <a:gd name="connsiteX60" fmla="*/ 432641 w 1185143"/>
                <a:gd name="connsiteY60" fmla="*/ 207458 h 207458"/>
                <a:gd name="connsiteX61" fmla="*/ 553798 w 1185143"/>
                <a:gd name="connsiteY61" fmla="*/ 207458 h 207458"/>
                <a:gd name="connsiteX62" fmla="*/ 553798 w 1185143"/>
                <a:gd name="connsiteY62" fmla="*/ 103756 h 207458"/>
                <a:gd name="connsiteX63" fmla="*/ 579737 w 1185143"/>
                <a:gd name="connsiteY63" fmla="*/ 103756 h 207458"/>
                <a:gd name="connsiteX64" fmla="*/ 579737 w 1185143"/>
                <a:gd name="connsiteY64" fmla="*/ 207458 h 207458"/>
                <a:gd name="connsiteX65" fmla="*/ 631561 w 1185143"/>
                <a:gd name="connsiteY65" fmla="*/ 207458 h 207458"/>
                <a:gd name="connsiteX66" fmla="*/ 631561 w 1185143"/>
                <a:gd name="connsiteY66" fmla="*/ 103756 h 207458"/>
                <a:gd name="connsiteX67" fmla="*/ 657555 w 1185143"/>
                <a:gd name="connsiteY67" fmla="*/ 103756 h 207458"/>
                <a:gd name="connsiteX68" fmla="*/ 657555 w 1185143"/>
                <a:gd name="connsiteY68" fmla="*/ 207458 h 207458"/>
                <a:gd name="connsiteX69" fmla="*/ 709433 w 1185143"/>
                <a:gd name="connsiteY69" fmla="*/ 207458 h 207458"/>
                <a:gd name="connsiteX70" fmla="*/ 709433 w 1185143"/>
                <a:gd name="connsiteY70" fmla="*/ 103756 h 207458"/>
                <a:gd name="connsiteX71" fmla="*/ 735372 w 1185143"/>
                <a:gd name="connsiteY71" fmla="*/ 103756 h 207458"/>
                <a:gd name="connsiteX72" fmla="*/ 735372 w 1185143"/>
                <a:gd name="connsiteY72" fmla="*/ 69225 h 207458"/>
                <a:gd name="connsiteX73" fmla="*/ 709433 w 1185143"/>
                <a:gd name="connsiteY73" fmla="*/ 69225 h 207458"/>
                <a:gd name="connsiteX74" fmla="*/ 709433 w 1185143"/>
                <a:gd name="connsiteY74" fmla="*/ 34477 h 207458"/>
                <a:gd name="connsiteX75" fmla="*/ 657555 w 1185143"/>
                <a:gd name="connsiteY75" fmla="*/ 34477 h 207458"/>
                <a:gd name="connsiteX76" fmla="*/ 657555 w 1185143"/>
                <a:gd name="connsiteY76" fmla="*/ 69225 h 207458"/>
                <a:gd name="connsiteX77" fmla="*/ 631561 w 1185143"/>
                <a:gd name="connsiteY77" fmla="*/ 69225 h 207458"/>
                <a:gd name="connsiteX78" fmla="*/ 631561 w 1185143"/>
                <a:gd name="connsiteY78" fmla="*/ 34477 h 207458"/>
                <a:gd name="connsiteX79" fmla="*/ 579737 w 1185143"/>
                <a:gd name="connsiteY79" fmla="*/ 34477 h 207458"/>
                <a:gd name="connsiteX80" fmla="*/ 579737 w 1185143"/>
                <a:gd name="connsiteY80" fmla="*/ 69225 h 207458"/>
                <a:gd name="connsiteX81" fmla="*/ 501650 w 1185143"/>
                <a:gd name="connsiteY81" fmla="*/ 69225 h 207458"/>
                <a:gd name="connsiteX82" fmla="*/ 501650 w 1185143"/>
                <a:gd name="connsiteY82" fmla="*/ 172927 h 207458"/>
                <a:gd name="connsiteX83" fmla="*/ 467173 w 1185143"/>
                <a:gd name="connsiteY83" fmla="*/ 172927 h 207458"/>
                <a:gd name="connsiteX84" fmla="*/ 467173 w 1185143"/>
                <a:gd name="connsiteY84" fmla="*/ 69225 h 207458"/>
                <a:gd name="connsiteX85" fmla="*/ 380547 w 1185143"/>
                <a:gd name="connsiteY85" fmla="*/ 69225 h 207458"/>
                <a:gd name="connsiteX86" fmla="*/ 380547 w 1185143"/>
                <a:gd name="connsiteY86" fmla="*/ 34477 h 207458"/>
                <a:gd name="connsiteX87" fmla="*/ 467173 w 1185143"/>
                <a:gd name="connsiteY87" fmla="*/ 34477 h 207458"/>
                <a:gd name="connsiteX88" fmla="*/ 467173 w 1185143"/>
                <a:gd name="connsiteY88" fmla="*/ 0 h 207458"/>
                <a:gd name="connsiteX89" fmla="*/ 328669 w 1185143"/>
                <a:gd name="connsiteY89" fmla="*/ 0 h 207458"/>
                <a:gd name="connsiteX90" fmla="*/ 899760 w 1185143"/>
                <a:gd name="connsiteY90" fmla="*/ 34477 h 207458"/>
                <a:gd name="connsiteX91" fmla="*/ 951692 w 1185143"/>
                <a:gd name="connsiteY91" fmla="*/ 34477 h 207458"/>
                <a:gd name="connsiteX92" fmla="*/ 951692 w 1185143"/>
                <a:gd name="connsiteY92" fmla="*/ 0 h 207458"/>
                <a:gd name="connsiteX93" fmla="*/ 899760 w 1185143"/>
                <a:gd name="connsiteY93" fmla="*/ 0 h 207458"/>
                <a:gd name="connsiteX94" fmla="*/ 899760 w 1185143"/>
                <a:gd name="connsiteY94" fmla="*/ 34477 h 2074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</a:cxnLst>
              <a:rect l="l" t="t" r="r" b="b"/>
              <a:pathLst>
                <a:path w="1185143" h="207458">
                  <a:moveTo>
                    <a:pt x="259606" y="138234"/>
                  </a:moveTo>
                  <a:lnTo>
                    <a:pt x="311539" y="138234"/>
                  </a:lnTo>
                  <a:lnTo>
                    <a:pt x="311539" y="103486"/>
                  </a:lnTo>
                  <a:lnTo>
                    <a:pt x="259606" y="103486"/>
                  </a:lnTo>
                  <a:lnTo>
                    <a:pt x="259606" y="138234"/>
                  </a:lnTo>
                  <a:close/>
                  <a:moveTo>
                    <a:pt x="787196" y="103756"/>
                  </a:moveTo>
                  <a:lnTo>
                    <a:pt x="821943" y="103756"/>
                  </a:lnTo>
                  <a:lnTo>
                    <a:pt x="821943" y="172981"/>
                  </a:lnTo>
                  <a:lnTo>
                    <a:pt x="787196" y="172981"/>
                  </a:lnTo>
                  <a:lnTo>
                    <a:pt x="787196" y="103756"/>
                  </a:lnTo>
                  <a:close/>
                  <a:moveTo>
                    <a:pt x="752718" y="69225"/>
                  </a:moveTo>
                  <a:lnTo>
                    <a:pt x="735318" y="103756"/>
                  </a:lnTo>
                  <a:lnTo>
                    <a:pt x="735318" y="172981"/>
                  </a:lnTo>
                  <a:lnTo>
                    <a:pt x="752718" y="207458"/>
                  </a:lnTo>
                  <a:lnTo>
                    <a:pt x="873821" y="207458"/>
                  </a:lnTo>
                  <a:lnTo>
                    <a:pt x="873821" y="69225"/>
                  </a:lnTo>
                  <a:lnTo>
                    <a:pt x="752718" y="69225"/>
                  </a:lnTo>
                  <a:close/>
                  <a:moveTo>
                    <a:pt x="977577" y="69225"/>
                  </a:moveTo>
                  <a:lnTo>
                    <a:pt x="977577" y="207458"/>
                  </a:lnTo>
                  <a:lnTo>
                    <a:pt x="1029455" y="207458"/>
                  </a:lnTo>
                  <a:lnTo>
                    <a:pt x="1029455" y="103756"/>
                  </a:lnTo>
                  <a:lnTo>
                    <a:pt x="1055394" y="103756"/>
                  </a:lnTo>
                  <a:lnTo>
                    <a:pt x="1055394" y="207458"/>
                  </a:lnTo>
                  <a:lnTo>
                    <a:pt x="1107273" y="207458"/>
                  </a:lnTo>
                  <a:lnTo>
                    <a:pt x="1107273" y="103756"/>
                  </a:lnTo>
                  <a:lnTo>
                    <a:pt x="1133266" y="103756"/>
                  </a:lnTo>
                  <a:lnTo>
                    <a:pt x="1133266" y="207458"/>
                  </a:lnTo>
                  <a:lnTo>
                    <a:pt x="1185144" y="207458"/>
                  </a:lnTo>
                  <a:lnTo>
                    <a:pt x="1185144" y="103756"/>
                  </a:lnTo>
                  <a:lnTo>
                    <a:pt x="1168013" y="69225"/>
                  </a:lnTo>
                  <a:lnTo>
                    <a:pt x="977631" y="69225"/>
                  </a:lnTo>
                  <a:close/>
                  <a:moveTo>
                    <a:pt x="899760" y="207458"/>
                  </a:moveTo>
                  <a:lnTo>
                    <a:pt x="951692" y="207458"/>
                  </a:lnTo>
                  <a:lnTo>
                    <a:pt x="951692" y="69225"/>
                  </a:lnTo>
                  <a:lnTo>
                    <a:pt x="899760" y="69009"/>
                  </a:lnTo>
                  <a:lnTo>
                    <a:pt x="899760" y="207458"/>
                  </a:lnTo>
                  <a:close/>
                  <a:moveTo>
                    <a:pt x="112565" y="34477"/>
                  </a:moveTo>
                  <a:lnTo>
                    <a:pt x="112565" y="103756"/>
                  </a:lnTo>
                  <a:lnTo>
                    <a:pt x="86355" y="103756"/>
                  </a:lnTo>
                  <a:lnTo>
                    <a:pt x="112565" y="34477"/>
                  </a:lnTo>
                  <a:close/>
                  <a:moveTo>
                    <a:pt x="69225" y="0"/>
                  </a:moveTo>
                  <a:lnTo>
                    <a:pt x="0" y="207458"/>
                  </a:lnTo>
                  <a:lnTo>
                    <a:pt x="51878" y="207458"/>
                  </a:lnTo>
                  <a:lnTo>
                    <a:pt x="77817" y="138450"/>
                  </a:lnTo>
                  <a:lnTo>
                    <a:pt x="112565" y="138450"/>
                  </a:lnTo>
                  <a:lnTo>
                    <a:pt x="112565" y="207458"/>
                  </a:lnTo>
                  <a:lnTo>
                    <a:pt x="164443" y="207458"/>
                  </a:lnTo>
                  <a:lnTo>
                    <a:pt x="164443" y="0"/>
                  </a:lnTo>
                  <a:lnTo>
                    <a:pt x="69225" y="0"/>
                  </a:lnTo>
                  <a:close/>
                  <a:moveTo>
                    <a:pt x="190328" y="207458"/>
                  </a:moveTo>
                  <a:lnTo>
                    <a:pt x="242206" y="207458"/>
                  </a:lnTo>
                  <a:lnTo>
                    <a:pt x="242206" y="0"/>
                  </a:lnTo>
                  <a:lnTo>
                    <a:pt x="190328" y="0"/>
                  </a:lnTo>
                  <a:lnTo>
                    <a:pt x="190328" y="207458"/>
                  </a:lnTo>
                  <a:close/>
                  <a:moveTo>
                    <a:pt x="328615" y="0"/>
                  </a:moveTo>
                  <a:lnTo>
                    <a:pt x="328615" y="207458"/>
                  </a:lnTo>
                  <a:lnTo>
                    <a:pt x="380493" y="207458"/>
                  </a:lnTo>
                  <a:lnTo>
                    <a:pt x="380493" y="103756"/>
                  </a:lnTo>
                  <a:lnTo>
                    <a:pt x="415295" y="103756"/>
                  </a:lnTo>
                  <a:lnTo>
                    <a:pt x="415295" y="172981"/>
                  </a:lnTo>
                  <a:lnTo>
                    <a:pt x="432641" y="207458"/>
                  </a:lnTo>
                  <a:lnTo>
                    <a:pt x="553798" y="207458"/>
                  </a:lnTo>
                  <a:lnTo>
                    <a:pt x="553798" y="103756"/>
                  </a:lnTo>
                  <a:lnTo>
                    <a:pt x="579737" y="103756"/>
                  </a:lnTo>
                  <a:lnTo>
                    <a:pt x="579737" y="207458"/>
                  </a:lnTo>
                  <a:lnTo>
                    <a:pt x="631561" y="207458"/>
                  </a:lnTo>
                  <a:lnTo>
                    <a:pt x="631561" y="103756"/>
                  </a:lnTo>
                  <a:lnTo>
                    <a:pt x="657555" y="103756"/>
                  </a:lnTo>
                  <a:lnTo>
                    <a:pt x="657555" y="207458"/>
                  </a:lnTo>
                  <a:lnTo>
                    <a:pt x="709433" y="207458"/>
                  </a:lnTo>
                  <a:lnTo>
                    <a:pt x="709433" y="103756"/>
                  </a:lnTo>
                  <a:lnTo>
                    <a:pt x="735372" y="103756"/>
                  </a:lnTo>
                  <a:lnTo>
                    <a:pt x="735372" y="69225"/>
                  </a:lnTo>
                  <a:lnTo>
                    <a:pt x="709433" y="69225"/>
                  </a:lnTo>
                  <a:lnTo>
                    <a:pt x="709433" y="34477"/>
                  </a:lnTo>
                  <a:lnTo>
                    <a:pt x="657555" y="34477"/>
                  </a:lnTo>
                  <a:lnTo>
                    <a:pt x="657555" y="69225"/>
                  </a:lnTo>
                  <a:lnTo>
                    <a:pt x="631561" y="69225"/>
                  </a:lnTo>
                  <a:lnTo>
                    <a:pt x="631561" y="34477"/>
                  </a:lnTo>
                  <a:lnTo>
                    <a:pt x="579737" y="34477"/>
                  </a:lnTo>
                  <a:lnTo>
                    <a:pt x="579737" y="69225"/>
                  </a:lnTo>
                  <a:lnTo>
                    <a:pt x="501650" y="69225"/>
                  </a:lnTo>
                  <a:lnTo>
                    <a:pt x="501650" y="172927"/>
                  </a:lnTo>
                  <a:lnTo>
                    <a:pt x="467173" y="172927"/>
                  </a:lnTo>
                  <a:lnTo>
                    <a:pt x="467173" y="69225"/>
                  </a:lnTo>
                  <a:lnTo>
                    <a:pt x="380547" y="69225"/>
                  </a:lnTo>
                  <a:lnTo>
                    <a:pt x="380547" y="34477"/>
                  </a:lnTo>
                  <a:lnTo>
                    <a:pt x="467173" y="34477"/>
                  </a:lnTo>
                  <a:lnTo>
                    <a:pt x="467173" y="0"/>
                  </a:lnTo>
                  <a:lnTo>
                    <a:pt x="328669" y="0"/>
                  </a:lnTo>
                  <a:close/>
                  <a:moveTo>
                    <a:pt x="899760" y="34477"/>
                  </a:moveTo>
                  <a:lnTo>
                    <a:pt x="951692" y="34477"/>
                  </a:lnTo>
                  <a:lnTo>
                    <a:pt x="951692" y="0"/>
                  </a:lnTo>
                  <a:lnTo>
                    <a:pt x="899760" y="0"/>
                  </a:lnTo>
                  <a:lnTo>
                    <a:pt x="899760" y="34477"/>
                  </a:lnTo>
                  <a:close/>
                </a:path>
              </a:pathLst>
            </a:custGeom>
            <a:grpFill/>
            <a:ln w="538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" name="Freeform: Shape 8">
              <a:extLst>
                <a:ext uri="{FF2B5EF4-FFF2-40B4-BE49-F238E27FC236}">
                  <a16:creationId xmlns:a16="http://schemas.microsoft.com/office/drawing/2014/main" id="{4B16180B-1850-72D4-B81C-33C05B2769E8}"/>
                </a:ext>
              </a:extLst>
            </p:cNvPr>
            <p:cNvSpPr/>
            <p:nvPr/>
          </p:nvSpPr>
          <p:spPr bwMode="black">
            <a:xfrm>
              <a:off x="9951588" y="538699"/>
              <a:ext cx="415348" cy="363146"/>
            </a:xfrm>
            <a:custGeom>
              <a:avLst/>
              <a:gdLst>
                <a:gd name="connsiteX0" fmla="*/ 156175 w 415348"/>
                <a:gd name="connsiteY0" fmla="*/ 155526 h 363146"/>
                <a:gd name="connsiteX1" fmla="*/ 207782 w 415348"/>
                <a:gd name="connsiteY1" fmla="*/ 103864 h 363146"/>
                <a:gd name="connsiteX2" fmla="*/ 259390 w 415348"/>
                <a:gd name="connsiteY2" fmla="*/ 155526 h 363146"/>
                <a:gd name="connsiteX3" fmla="*/ 207782 w 415348"/>
                <a:gd name="connsiteY3" fmla="*/ 207296 h 363146"/>
                <a:gd name="connsiteX4" fmla="*/ 156175 w 415348"/>
                <a:gd name="connsiteY4" fmla="*/ 155526 h 363146"/>
                <a:gd name="connsiteX5" fmla="*/ 207782 w 415348"/>
                <a:gd name="connsiteY5" fmla="*/ 0 h 363146"/>
                <a:gd name="connsiteX6" fmla="*/ 0 w 415348"/>
                <a:gd name="connsiteY6" fmla="*/ 207350 h 363146"/>
                <a:gd name="connsiteX7" fmla="*/ 51986 w 415348"/>
                <a:gd name="connsiteY7" fmla="*/ 259228 h 363146"/>
                <a:gd name="connsiteX8" fmla="*/ 104134 w 415348"/>
                <a:gd name="connsiteY8" fmla="*/ 207512 h 363146"/>
                <a:gd name="connsiteX9" fmla="*/ 155904 w 415348"/>
                <a:gd name="connsiteY9" fmla="*/ 259499 h 363146"/>
                <a:gd name="connsiteX10" fmla="*/ 103810 w 415348"/>
                <a:gd name="connsiteY10" fmla="*/ 311593 h 363146"/>
                <a:gd name="connsiteX11" fmla="*/ 155904 w 415348"/>
                <a:gd name="connsiteY11" fmla="*/ 363147 h 363146"/>
                <a:gd name="connsiteX12" fmla="*/ 206810 w 415348"/>
                <a:gd name="connsiteY12" fmla="*/ 311431 h 363146"/>
                <a:gd name="connsiteX13" fmla="*/ 259823 w 415348"/>
                <a:gd name="connsiteY13" fmla="*/ 363147 h 363146"/>
                <a:gd name="connsiteX14" fmla="*/ 311485 w 415348"/>
                <a:gd name="connsiteY14" fmla="*/ 311431 h 363146"/>
                <a:gd name="connsiteX15" fmla="*/ 259823 w 415348"/>
                <a:gd name="connsiteY15" fmla="*/ 259769 h 363146"/>
                <a:gd name="connsiteX16" fmla="*/ 312025 w 415348"/>
                <a:gd name="connsiteY16" fmla="*/ 207512 h 363146"/>
                <a:gd name="connsiteX17" fmla="*/ 363633 w 415348"/>
                <a:gd name="connsiteY17" fmla="*/ 259228 h 363146"/>
                <a:gd name="connsiteX18" fmla="*/ 415349 w 415348"/>
                <a:gd name="connsiteY18" fmla="*/ 207512 h 363146"/>
                <a:gd name="connsiteX19" fmla="*/ 207782 w 415348"/>
                <a:gd name="connsiteY19" fmla="*/ 0 h 3631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415348" h="363146">
                  <a:moveTo>
                    <a:pt x="156175" y="155526"/>
                  </a:moveTo>
                  <a:lnTo>
                    <a:pt x="207782" y="103864"/>
                  </a:lnTo>
                  <a:lnTo>
                    <a:pt x="259390" y="155526"/>
                  </a:lnTo>
                  <a:lnTo>
                    <a:pt x="207782" y="207296"/>
                  </a:lnTo>
                  <a:lnTo>
                    <a:pt x="156175" y="155526"/>
                  </a:lnTo>
                  <a:close/>
                  <a:moveTo>
                    <a:pt x="207782" y="0"/>
                  </a:moveTo>
                  <a:lnTo>
                    <a:pt x="0" y="207350"/>
                  </a:lnTo>
                  <a:lnTo>
                    <a:pt x="51986" y="259228"/>
                  </a:lnTo>
                  <a:lnTo>
                    <a:pt x="104134" y="207512"/>
                  </a:lnTo>
                  <a:lnTo>
                    <a:pt x="155904" y="259499"/>
                  </a:lnTo>
                  <a:lnTo>
                    <a:pt x="103810" y="311593"/>
                  </a:lnTo>
                  <a:lnTo>
                    <a:pt x="155904" y="363147"/>
                  </a:lnTo>
                  <a:lnTo>
                    <a:pt x="206810" y="311431"/>
                  </a:lnTo>
                  <a:lnTo>
                    <a:pt x="259823" y="363147"/>
                  </a:lnTo>
                  <a:lnTo>
                    <a:pt x="311485" y="311431"/>
                  </a:lnTo>
                  <a:lnTo>
                    <a:pt x="259823" y="259769"/>
                  </a:lnTo>
                  <a:lnTo>
                    <a:pt x="312025" y="207512"/>
                  </a:lnTo>
                  <a:lnTo>
                    <a:pt x="363633" y="259228"/>
                  </a:lnTo>
                  <a:lnTo>
                    <a:pt x="415349" y="207512"/>
                  </a:lnTo>
                  <a:lnTo>
                    <a:pt x="207782" y="0"/>
                  </a:lnTo>
                  <a:close/>
                </a:path>
              </a:pathLst>
            </a:custGeom>
            <a:solidFill>
              <a:schemeClr val="accent2"/>
            </a:solidFill>
            <a:ln w="538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66071909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image" Target="../media/image1.emf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tags" Target="../tags/tag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3.xml"/><Relationship Id="rId13" Type="http://schemas.openxmlformats.org/officeDocument/2006/relationships/tags" Target="../tags/tag2.xml"/><Relationship Id="rId18" Type="http://schemas.openxmlformats.org/officeDocument/2006/relationships/tags" Target="../tags/tag7.xml"/><Relationship Id="rId26" Type="http://schemas.openxmlformats.org/officeDocument/2006/relationships/tags" Target="../tags/tag15.xml"/><Relationship Id="rId3" Type="http://schemas.openxmlformats.org/officeDocument/2006/relationships/slideLayout" Target="../slideLayouts/slideLayout38.xml"/><Relationship Id="rId21" Type="http://schemas.openxmlformats.org/officeDocument/2006/relationships/tags" Target="../tags/tag10.xml"/><Relationship Id="rId7" Type="http://schemas.openxmlformats.org/officeDocument/2006/relationships/slideLayout" Target="../slideLayouts/slideLayout42.xml"/><Relationship Id="rId12" Type="http://schemas.openxmlformats.org/officeDocument/2006/relationships/theme" Target="../theme/theme2.xml"/><Relationship Id="rId17" Type="http://schemas.openxmlformats.org/officeDocument/2006/relationships/tags" Target="../tags/tag6.xml"/><Relationship Id="rId25" Type="http://schemas.openxmlformats.org/officeDocument/2006/relationships/tags" Target="../tags/tag14.xml"/><Relationship Id="rId2" Type="http://schemas.openxmlformats.org/officeDocument/2006/relationships/slideLayout" Target="../slideLayouts/slideLayout37.xml"/><Relationship Id="rId16" Type="http://schemas.openxmlformats.org/officeDocument/2006/relationships/tags" Target="../tags/tag5.xml"/><Relationship Id="rId20" Type="http://schemas.openxmlformats.org/officeDocument/2006/relationships/tags" Target="../tags/tag9.xml"/><Relationship Id="rId29" Type="http://schemas.openxmlformats.org/officeDocument/2006/relationships/tags" Target="../tags/tag18.xml"/><Relationship Id="rId1" Type="http://schemas.openxmlformats.org/officeDocument/2006/relationships/slideLayout" Target="../slideLayouts/slideLayout36.xml"/><Relationship Id="rId6" Type="http://schemas.openxmlformats.org/officeDocument/2006/relationships/slideLayout" Target="../slideLayouts/slideLayout41.xml"/><Relationship Id="rId11" Type="http://schemas.openxmlformats.org/officeDocument/2006/relationships/slideLayout" Target="../slideLayouts/slideLayout46.xml"/><Relationship Id="rId24" Type="http://schemas.openxmlformats.org/officeDocument/2006/relationships/tags" Target="../tags/tag13.xml"/><Relationship Id="rId32" Type="http://schemas.openxmlformats.org/officeDocument/2006/relationships/image" Target="../media/image3.png"/><Relationship Id="rId5" Type="http://schemas.openxmlformats.org/officeDocument/2006/relationships/slideLayout" Target="../slideLayouts/slideLayout40.xml"/><Relationship Id="rId15" Type="http://schemas.openxmlformats.org/officeDocument/2006/relationships/tags" Target="../tags/tag4.xml"/><Relationship Id="rId23" Type="http://schemas.openxmlformats.org/officeDocument/2006/relationships/tags" Target="../tags/tag12.xml"/><Relationship Id="rId28" Type="http://schemas.openxmlformats.org/officeDocument/2006/relationships/tags" Target="../tags/tag17.xml"/><Relationship Id="rId10" Type="http://schemas.openxmlformats.org/officeDocument/2006/relationships/slideLayout" Target="../slideLayouts/slideLayout45.xml"/><Relationship Id="rId19" Type="http://schemas.openxmlformats.org/officeDocument/2006/relationships/tags" Target="../tags/tag8.xml"/><Relationship Id="rId31" Type="http://schemas.openxmlformats.org/officeDocument/2006/relationships/image" Target="../media/image2.emf"/><Relationship Id="rId4" Type="http://schemas.openxmlformats.org/officeDocument/2006/relationships/slideLayout" Target="../slideLayouts/slideLayout39.xml"/><Relationship Id="rId9" Type="http://schemas.openxmlformats.org/officeDocument/2006/relationships/slideLayout" Target="../slideLayouts/slideLayout44.xml"/><Relationship Id="rId14" Type="http://schemas.openxmlformats.org/officeDocument/2006/relationships/tags" Target="../tags/tag3.xml"/><Relationship Id="rId22" Type="http://schemas.openxmlformats.org/officeDocument/2006/relationships/tags" Target="../tags/tag11.xml"/><Relationship Id="rId27" Type="http://schemas.openxmlformats.org/officeDocument/2006/relationships/tags" Target="../tags/tag16.xml"/><Relationship Id="rId30" Type="http://schemas.openxmlformats.org/officeDocument/2006/relationships/oleObject" Target="../embeddings/oleObject2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4FDADF5F-7A5D-D28D-7D10-000EAFC3F3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7"/>
            </p:custDataLst>
            <p:extLst>
              <p:ext uri="{D42A27DB-BD31-4B8C-83A1-F6EECF244321}">
                <p14:modId xmlns:p14="http://schemas.microsoft.com/office/powerpoint/2010/main" val="29112396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8" imgW="473" imgH="473" progId="TCLayout.ActiveDocument.1">
                  <p:embed/>
                </p:oleObj>
              </mc:Choice>
              <mc:Fallback>
                <p:oleObj name="think-cell Folie" r:id="rId38" imgW="473" imgH="473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FDADF5F-7A5D-D28D-7D10-000EAFC3F3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068C974D-9AA5-C8CA-9908-5381067CB55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9750" y="540001"/>
            <a:ext cx="9230251" cy="387798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 dirty="0"/>
              <a:t>Please insert a Headlin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212503D-348A-882A-9F38-8CF38555CD6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39749" y="1618720"/>
            <a:ext cx="11112499" cy="442648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/>
              <a:t>First Layer</a:t>
            </a:r>
          </a:p>
          <a:p>
            <a:pPr lvl="1"/>
            <a:r>
              <a:rPr lang="en-US"/>
              <a:t>Second Layer</a:t>
            </a:r>
          </a:p>
          <a:p>
            <a:pPr lvl="2"/>
            <a:r>
              <a:rPr lang="en-US"/>
              <a:t>Third Layer</a:t>
            </a:r>
          </a:p>
          <a:p>
            <a:pPr lvl="3"/>
            <a:r>
              <a:rPr lang="en-US"/>
              <a:t>Fourth Layer</a:t>
            </a:r>
          </a:p>
          <a:p>
            <a:pPr lvl="4"/>
            <a:r>
              <a:rPr lang="en-US"/>
              <a:t>Fifth Layer</a:t>
            </a:r>
          </a:p>
          <a:p>
            <a:pPr lvl="5"/>
            <a:r>
              <a:rPr lang="en-US"/>
              <a:t>Sixth Layer </a:t>
            </a:r>
          </a:p>
          <a:p>
            <a:pPr lvl="6"/>
            <a:r>
              <a:rPr lang="en-US"/>
              <a:t>Seventh Layer</a:t>
            </a:r>
          </a:p>
          <a:p>
            <a:pPr lvl="7"/>
            <a:r>
              <a:rPr lang="en-US"/>
              <a:t>Eighth Layer</a:t>
            </a:r>
          </a:p>
          <a:p>
            <a:pPr lvl="8"/>
            <a:r>
              <a:rPr lang="en-US"/>
              <a:t>Ninth Layer</a:t>
            </a:r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ADD30EE-C27B-F1EB-0D0C-7637FA8B3E3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39748" y="6462506"/>
            <a:ext cx="5556251" cy="123111"/>
          </a:xfrm>
          <a:prstGeom prst="rect">
            <a:avLst/>
          </a:prstGeom>
        </p:spPr>
        <p:txBody>
          <a:bodyPr vert="horz" lIns="0" tIns="0" rIns="0" bIns="0" rtlCol="0" anchor="b">
            <a:spAutoFit/>
          </a:bodyPr>
          <a:lstStyle>
            <a:lvl1pPr algn="l">
              <a:defRPr sz="8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Al-Futtaim Template 2025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2C089DC-5C10-B6FD-155A-16A1CCEA35C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21533" y="6462506"/>
            <a:ext cx="230714" cy="123111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r">
              <a:defRPr sz="800">
                <a:solidFill>
                  <a:schemeClr val="tx2"/>
                </a:solidFill>
              </a:defRPr>
            </a:lvl1pPr>
          </a:lstStyle>
          <a:p>
            <a:fld id="{83109594-1B45-46DB-8A0B-416F125317DC}" type="slidenum">
              <a:rPr lang="en-US" smtClean="0"/>
              <a:pPr/>
              <a:t>‹#›</a:t>
            </a:fld>
            <a:endParaRPr lang="en-US" dirty="0"/>
          </a:p>
        </p:txBody>
      </p:sp>
      <p:grpSp>
        <p:nvGrpSpPr>
          <p:cNvPr id="64" name="Group 63">
            <a:extLst>
              <a:ext uri="{FF2B5EF4-FFF2-40B4-BE49-F238E27FC236}">
                <a16:creationId xmlns:a16="http://schemas.microsoft.com/office/drawing/2014/main" id="{C74B4B1E-A977-A2F9-4589-C8AB3DB3C544}"/>
              </a:ext>
            </a:extLst>
          </p:cNvPr>
          <p:cNvGrpSpPr/>
          <p:nvPr userDrawn="1"/>
        </p:nvGrpSpPr>
        <p:grpSpPr>
          <a:xfrm>
            <a:off x="9951588" y="538699"/>
            <a:ext cx="1704301" cy="363146"/>
            <a:chOff x="9951588" y="538699"/>
            <a:chExt cx="1704301" cy="363146"/>
          </a:xfrm>
        </p:grpSpPr>
        <p:sp>
          <p:nvSpPr>
            <p:cNvPr id="62" name="Freeform: Shape 61">
              <a:extLst>
                <a:ext uri="{FF2B5EF4-FFF2-40B4-BE49-F238E27FC236}">
                  <a16:creationId xmlns:a16="http://schemas.microsoft.com/office/drawing/2014/main" id="{D68FDAA8-BDEC-4693-9617-B7B51B6340E7}"/>
                </a:ext>
              </a:extLst>
            </p:cNvPr>
            <p:cNvSpPr/>
            <p:nvPr/>
          </p:nvSpPr>
          <p:spPr>
            <a:xfrm>
              <a:off x="10470746" y="642617"/>
              <a:ext cx="1185143" cy="207458"/>
            </a:xfrm>
            <a:custGeom>
              <a:avLst/>
              <a:gdLst>
                <a:gd name="connsiteX0" fmla="*/ 259606 w 1185143"/>
                <a:gd name="connsiteY0" fmla="*/ 138234 h 207458"/>
                <a:gd name="connsiteX1" fmla="*/ 311539 w 1185143"/>
                <a:gd name="connsiteY1" fmla="*/ 138234 h 207458"/>
                <a:gd name="connsiteX2" fmla="*/ 311539 w 1185143"/>
                <a:gd name="connsiteY2" fmla="*/ 103486 h 207458"/>
                <a:gd name="connsiteX3" fmla="*/ 259606 w 1185143"/>
                <a:gd name="connsiteY3" fmla="*/ 103486 h 207458"/>
                <a:gd name="connsiteX4" fmla="*/ 259606 w 1185143"/>
                <a:gd name="connsiteY4" fmla="*/ 138234 h 207458"/>
                <a:gd name="connsiteX5" fmla="*/ 787196 w 1185143"/>
                <a:gd name="connsiteY5" fmla="*/ 103756 h 207458"/>
                <a:gd name="connsiteX6" fmla="*/ 821943 w 1185143"/>
                <a:gd name="connsiteY6" fmla="*/ 103756 h 207458"/>
                <a:gd name="connsiteX7" fmla="*/ 821943 w 1185143"/>
                <a:gd name="connsiteY7" fmla="*/ 172981 h 207458"/>
                <a:gd name="connsiteX8" fmla="*/ 787196 w 1185143"/>
                <a:gd name="connsiteY8" fmla="*/ 172981 h 207458"/>
                <a:gd name="connsiteX9" fmla="*/ 787196 w 1185143"/>
                <a:gd name="connsiteY9" fmla="*/ 103756 h 207458"/>
                <a:gd name="connsiteX10" fmla="*/ 752718 w 1185143"/>
                <a:gd name="connsiteY10" fmla="*/ 69225 h 207458"/>
                <a:gd name="connsiteX11" fmla="*/ 735318 w 1185143"/>
                <a:gd name="connsiteY11" fmla="*/ 103756 h 207458"/>
                <a:gd name="connsiteX12" fmla="*/ 735318 w 1185143"/>
                <a:gd name="connsiteY12" fmla="*/ 172981 h 207458"/>
                <a:gd name="connsiteX13" fmla="*/ 752718 w 1185143"/>
                <a:gd name="connsiteY13" fmla="*/ 207458 h 207458"/>
                <a:gd name="connsiteX14" fmla="*/ 873821 w 1185143"/>
                <a:gd name="connsiteY14" fmla="*/ 207458 h 207458"/>
                <a:gd name="connsiteX15" fmla="*/ 873821 w 1185143"/>
                <a:gd name="connsiteY15" fmla="*/ 69225 h 207458"/>
                <a:gd name="connsiteX16" fmla="*/ 752718 w 1185143"/>
                <a:gd name="connsiteY16" fmla="*/ 69225 h 207458"/>
                <a:gd name="connsiteX17" fmla="*/ 977577 w 1185143"/>
                <a:gd name="connsiteY17" fmla="*/ 69225 h 207458"/>
                <a:gd name="connsiteX18" fmla="*/ 977577 w 1185143"/>
                <a:gd name="connsiteY18" fmla="*/ 207458 h 207458"/>
                <a:gd name="connsiteX19" fmla="*/ 1029455 w 1185143"/>
                <a:gd name="connsiteY19" fmla="*/ 207458 h 207458"/>
                <a:gd name="connsiteX20" fmla="*/ 1029455 w 1185143"/>
                <a:gd name="connsiteY20" fmla="*/ 103756 h 207458"/>
                <a:gd name="connsiteX21" fmla="*/ 1055394 w 1185143"/>
                <a:gd name="connsiteY21" fmla="*/ 103756 h 207458"/>
                <a:gd name="connsiteX22" fmla="*/ 1055394 w 1185143"/>
                <a:gd name="connsiteY22" fmla="*/ 207458 h 207458"/>
                <a:gd name="connsiteX23" fmla="*/ 1107273 w 1185143"/>
                <a:gd name="connsiteY23" fmla="*/ 207458 h 207458"/>
                <a:gd name="connsiteX24" fmla="*/ 1107273 w 1185143"/>
                <a:gd name="connsiteY24" fmla="*/ 103756 h 207458"/>
                <a:gd name="connsiteX25" fmla="*/ 1133266 w 1185143"/>
                <a:gd name="connsiteY25" fmla="*/ 103756 h 207458"/>
                <a:gd name="connsiteX26" fmla="*/ 1133266 w 1185143"/>
                <a:gd name="connsiteY26" fmla="*/ 207458 h 207458"/>
                <a:gd name="connsiteX27" fmla="*/ 1185144 w 1185143"/>
                <a:gd name="connsiteY27" fmla="*/ 207458 h 207458"/>
                <a:gd name="connsiteX28" fmla="*/ 1185144 w 1185143"/>
                <a:gd name="connsiteY28" fmla="*/ 103756 h 207458"/>
                <a:gd name="connsiteX29" fmla="*/ 1168013 w 1185143"/>
                <a:gd name="connsiteY29" fmla="*/ 69225 h 207458"/>
                <a:gd name="connsiteX30" fmla="*/ 977631 w 1185143"/>
                <a:gd name="connsiteY30" fmla="*/ 69225 h 207458"/>
                <a:gd name="connsiteX31" fmla="*/ 899760 w 1185143"/>
                <a:gd name="connsiteY31" fmla="*/ 207458 h 207458"/>
                <a:gd name="connsiteX32" fmla="*/ 951692 w 1185143"/>
                <a:gd name="connsiteY32" fmla="*/ 207458 h 207458"/>
                <a:gd name="connsiteX33" fmla="*/ 951692 w 1185143"/>
                <a:gd name="connsiteY33" fmla="*/ 69225 h 207458"/>
                <a:gd name="connsiteX34" fmla="*/ 899760 w 1185143"/>
                <a:gd name="connsiteY34" fmla="*/ 69009 h 207458"/>
                <a:gd name="connsiteX35" fmla="*/ 899760 w 1185143"/>
                <a:gd name="connsiteY35" fmla="*/ 207458 h 207458"/>
                <a:gd name="connsiteX36" fmla="*/ 112565 w 1185143"/>
                <a:gd name="connsiteY36" fmla="*/ 34477 h 207458"/>
                <a:gd name="connsiteX37" fmla="*/ 112565 w 1185143"/>
                <a:gd name="connsiteY37" fmla="*/ 103756 h 207458"/>
                <a:gd name="connsiteX38" fmla="*/ 86355 w 1185143"/>
                <a:gd name="connsiteY38" fmla="*/ 103756 h 207458"/>
                <a:gd name="connsiteX39" fmla="*/ 112565 w 1185143"/>
                <a:gd name="connsiteY39" fmla="*/ 34477 h 207458"/>
                <a:gd name="connsiteX40" fmla="*/ 69225 w 1185143"/>
                <a:gd name="connsiteY40" fmla="*/ 0 h 207458"/>
                <a:gd name="connsiteX41" fmla="*/ 0 w 1185143"/>
                <a:gd name="connsiteY41" fmla="*/ 207458 h 207458"/>
                <a:gd name="connsiteX42" fmla="*/ 51878 w 1185143"/>
                <a:gd name="connsiteY42" fmla="*/ 207458 h 207458"/>
                <a:gd name="connsiteX43" fmla="*/ 77817 w 1185143"/>
                <a:gd name="connsiteY43" fmla="*/ 138450 h 207458"/>
                <a:gd name="connsiteX44" fmla="*/ 112565 w 1185143"/>
                <a:gd name="connsiteY44" fmla="*/ 138450 h 207458"/>
                <a:gd name="connsiteX45" fmla="*/ 112565 w 1185143"/>
                <a:gd name="connsiteY45" fmla="*/ 207458 h 207458"/>
                <a:gd name="connsiteX46" fmla="*/ 164443 w 1185143"/>
                <a:gd name="connsiteY46" fmla="*/ 207458 h 207458"/>
                <a:gd name="connsiteX47" fmla="*/ 164443 w 1185143"/>
                <a:gd name="connsiteY47" fmla="*/ 0 h 207458"/>
                <a:gd name="connsiteX48" fmla="*/ 69225 w 1185143"/>
                <a:gd name="connsiteY48" fmla="*/ 0 h 207458"/>
                <a:gd name="connsiteX49" fmla="*/ 190328 w 1185143"/>
                <a:gd name="connsiteY49" fmla="*/ 207458 h 207458"/>
                <a:gd name="connsiteX50" fmla="*/ 242206 w 1185143"/>
                <a:gd name="connsiteY50" fmla="*/ 207458 h 207458"/>
                <a:gd name="connsiteX51" fmla="*/ 242206 w 1185143"/>
                <a:gd name="connsiteY51" fmla="*/ 0 h 207458"/>
                <a:gd name="connsiteX52" fmla="*/ 190328 w 1185143"/>
                <a:gd name="connsiteY52" fmla="*/ 0 h 207458"/>
                <a:gd name="connsiteX53" fmla="*/ 190328 w 1185143"/>
                <a:gd name="connsiteY53" fmla="*/ 207458 h 207458"/>
                <a:gd name="connsiteX54" fmla="*/ 328615 w 1185143"/>
                <a:gd name="connsiteY54" fmla="*/ 0 h 207458"/>
                <a:gd name="connsiteX55" fmla="*/ 328615 w 1185143"/>
                <a:gd name="connsiteY55" fmla="*/ 207458 h 207458"/>
                <a:gd name="connsiteX56" fmla="*/ 380493 w 1185143"/>
                <a:gd name="connsiteY56" fmla="*/ 207458 h 207458"/>
                <a:gd name="connsiteX57" fmla="*/ 380493 w 1185143"/>
                <a:gd name="connsiteY57" fmla="*/ 103756 h 207458"/>
                <a:gd name="connsiteX58" fmla="*/ 415295 w 1185143"/>
                <a:gd name="connsiteY58" fmla="*/ 103756 h 207458"/>
                <a:gd name="connsiteX59" fmla="*/ 415295 w 1185143"/>
                <a:gd name="connsiteY59" fmla="*/ 172981 h 207458"/>
                <a:gd name="connsiteX60" fmla="*/ 432641 w 1185143"/>
                <a:gd name="connsiteY60" fmla="*/ 207458 h 207458"/>
                <a:gd name="connsiteX61" fmla="*/ 553798 w 1185143"/>
                <a:gd name="connsiteY61" fmla="*/ 207458 h 207458"/>
                <a:gd name="connsiteX62" fmla="*/ 553798 w 1185143"/>
                <a:gd name="connsiteY62" fmla="*/ 103756 h 207458"/>
                <a:gd name="connsiteX63" fmla="*/ 579737 w 1185143"/>
                <a:gd name="connsiteY63" fmla="*/ 103756 h 207458"/>
                <a:gd name="connsiteX64" fmla="*/ 579737 w 1185143"/>
                <a:gd name="connsiteY64" fmla="*/ 207458 h 207458"/>
                <a:gd name="connsiteX65" fmla="*/ 631561 w 1185143"/>
                <a:gd name="connsiteY65" fmla="*/ 207458 h 207458"/>
                <a:gd name="connsiteX66" fmla="*/ 631561 w 1185143"/>
                <a:gd name="connsiteY66" fmla="*/ 103756 h 207458"/>
                <a:gd name="connsiteX67" fmla="*/ 657555 w 1185143"/>
                <a:gd name="connsiteY67" fmla="*/ 103756 h 207458"/>
                <a:gd name="connsiteX68" fmla="*/ 657555 w 1185143"/>
                <a:gd name="connsiteY68" fmla="*/ 207458 h 207458"/>
                <a:gd name="connsiteX69" fmla="*/ 709433 w 1185143"/>
                <a:gd name="connsiteY69" fmla="*/ 207458 h 207458"/>
                <a:gd name="connsiteX70" fmla="*/ 709433 w 1185143"/>
                <a:gd name="connsiteY70" fmla="*/ 103756 h 207458"/>
                <a:gd name="connsiteX71" fmla="*/ 735372 w 1185143"/>
                <a:gd name="connsiteY71" fmla="*/ 103756 h 207458"/>
                <a:gd name="connsiteX72" fmla="*/ 735372 w 1185143"/>
                <a:gd name="connsiteY72" fmla="*/ 69225 h 207458"/>
                <a:gd name="connsiteX73" fmla="*/ 709433 w 1185143"/>
                <a:gd name="connsiteY73" fmla="*/ 69225 h 207458"/>
                <a:gd name="connsiteX74" fmla="*/ 709433 w 1185143"/>
                <a:gd name="connsiteY74" fmla="*/ 34477 h 207458"/>
                <a:gd name="connsiteX75" fmla="*/ 657555 w 1185143"/>
                <a:gd name="connsiteY75" fmla="*/ 34477 h 207458"/>
                <a:gd name="connsiteX76" fmla="*/ 657555 w 1185143"/>
                <a:gd name="connsiteY76" fmla="*/ 69225 h 207458"/>
                <a:gd name="connsiteX77" fmla="*/ 631561 w 1185143"/>
                <a:gd name="connsiteY77" fmla="*/ 69225 h 207458"/>
                <a:gd name="connsiteX78" fmla="*/ 631561 w 1185143"/>
                <a:gd name="connsiteY78" fmla="*/ 34477 h 207458"/>
                <a:gd name="connsiteX79" fmla="*/ 579737 w 1185143"/>
                <a:gd name="connsiteY79" fmla="*/ 34477 h 207458"/>
                <a:gd name="connsiteX80" fmla="*/ 579737 w 1185143"/>
                <a:gd name="connsiteY80" fmla="*/ 69225 h 207458"/>
                <a:gd name="connsiteX81" fmla="*/ 501650 w 1185143"/>
                <a:gd name="connsiteY81" fmla="*/ 69225 h 207458"/>
                <a:gd name="connsiteX82" fmla="*/ 501650 w 1185143"/>
                <a:gd name="connsiteY82" fmla="*/ 172927 h 207458"/>
                <a:gd name="connsiteX83" fmla="*/ 467173 w 1185143"/>
                <a:gd name="connsiteY83" fmla="*/ 172927 h 207458"/>
                <a:gd name="connsiteX84" fmla="*/ 467173 w 1185143"/>
                <a:gd name="connsiteY84" fmla="*/ 69225 h 207458"/>
                <a:gd name="connsiteX85" fmla="*/ 380547 w 1185143"/>
                <a:gd name="connsiteY85" fmla="*/ 69225 h 207458"/>
                <a:gd name="connsiteX86" fmla="*/ 380547 w 1185143"/>
                <a:gd name="connsiteY86" fmla="*/ 34477 h 207458"/>
                <a:gd name="connsiteX87" fmla="*/ 467173 w 1185143"/>
                <a:gd name="connsiteY87" fmla="*/ 34477 h 207458"/>
                <a:gd name="connsiteX88" fmla="*/ 467173 w 1185143"/>
                <a:gd name="connsiteY88" fmla="*/ 0 h 207458"/>
                <a:gd name="connsiteX89" fmla="*/ 328669 w 1185143"/>
                <a:gd name="connsiteY89" fmla="*/ 0 h 207458"/>
                <a:gd name="connsiteX90" fmla="*/ 899760 w 1185143"/>
                <a:gd name="connsiteY90" fmla="*/ 34477 h 207458"/>
                <a:gd name="connsiteX91" fmla="*/ 951692 w 1185143"/>
                <a:gd name="connsiteY91" fmla="*/ 34477 h 207458"/>
                <a:gd name="connsiteX92" fmla="*/ 951692 w 1185143"/>
                <a:gd name="connsiteY92" fmla="*/ 0 h 207458"/>
                <a:gd name="connsiteX93" fmla="*/ 899760 w 1185143"/>
                <a:gd name="connsiteY93" fmla="*/ 0 h 207458"/>
                <a:gd name="connsiteX94" fmla="*/ 899760 w 1185143"/>
                <a:gd name="connsiteY94" fmla="*/ 34477 h 2074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</a:cxnLst>
              <a:rect l="l" t="t" r="r" b="b"/>
              <a:pathLst>
                <a:path w="1185143" h="207458">
                  <a:moveTo>
                    <a:pt x="259606" y="138234"/>
                  </a:moveTo>
                  <a:lnTo>
                    <a:pt x="311539" y="138234"/>
                  </a:lnTo>
                  <a:lnTo>
                    <a:pt x="311539" y="103486"/>
                  </a:lnTo>
                  <a:lnTo>
                    <a:pt x="259606" y="103486"/>
                  </a:lnTo>
                  <a:lnTo>
                    <a:pt x="259606" y="138234"/>
                  </a:lnTo>
                  <a:close/>
                  <a:moveTo>
                    <a:pt x="787196" y="103756"/>
                  </a:moveTo>
                  <a:lnTo>
                    <a:pt x="821943" y="103756"/>
                  </a:lnTo>
                  <a:lnTo>
                    <a:pt x="821943" y="172981"/>
                  </a:lnTo>
                  <a:lnTo>
                    <a:pt x="787196" y="172981"/>
                  </a:lnTo>
                  <a:lnTo>
                    <a:pt x="787196" y="103756"/>
                  </a:lnTo>
                  <a:close/>
                  <a:moveTo>
                    <a:pt x="752718" y="69225"/>
                  </a:moveTo>
                  <a:lnTo>
                    <a:pt x="735318" y="103756"/>
                  </a:lnTo>
                  <a:lnTo>
                    <a:pt x="735318" y="172981"/>
                  </a:lnTo>
                  <a:lnTo>
                    <a:pt x="752718" y="207458"/>
                  </a:lnTo>
                  <a:lnTo>
                    <a:pt x="873821" y="207458"/>
                  </a:lnTo>
                  <a:lnTo>
                    <a:pt x="873821" y="69225"/>
                  </a:lnTo>
                  <a:lnTo>
                    <a:pt x="752718" y="69225"/>
                  </a:lnTo>
                  <a:close/>
                  <a:moveTo>
                    <a:pt x="977577" y="69225"/>
                  </a:moveTo>
                  <a:lnTo>
                    <a:pt x="977577" y="207458"/>
                  </a:lnTo>
                  <a:lnTo>
                    <a:pt x="1029455" y="207458"/>
                  </a:lnTo>
                  <a:lnTo>
                    <a:pt x="1029455" y="103756"/>
                  </a:lnTo>
                  <a:lnTo>
                    <a:pt x="1055394" y="103756"/>
                  </a:lnTo>
                  <a:lnTo>
                    <a:pt x="1055394" y="207458"/>
                  </a:lnTo>
                  <a:lnTo>
                    <a:pt x="1107273" y="207458"/>
                  </a:lnTo>
                  <a:lnTo>
                    <a:pt x="1107273" y="103756"/>
                  </a:lnTo>
                  <a:lnTo>
                    <a:pt x="1133266" y="103756"/>
                  </a:lnTo>
                  <a:lnTo>
                    <a:pt x="1133266" y="207458"/>
                  </a:lnTo>
                  <a:lnTo>
                    <a:pt x="1185144" y="207458"/>
                  </a:lnTo>
                  <a:lnTo>
                    <a:pt x="1185144" y="103756"/>
                  </a:lnTo>
                  <a:lnTo>
                    <a:pt x="1168013" y="69225"/>
                  </a:lnTo>
                  <a:lnTo>
                    <a:pt x="977631" y="69225"/>
                  </a:lnTo>
                  <a:close/>
                  <a:moveTo>
                    <a:pt x="899760" y="207458"/>
                  </a:moveTo>
                  <a:lnTo>
                    <a:pt x="951692" y="207458"/>
                  </a:lnTo>
                  <a:lnTo>
                    <a:pt x="951692" y="69225"/>
                  </a:lnTo>
                  <a:lnTo>
                    <a:pt x="899760" y="69009"/>
                  </a:lnTo>
                  <a:lnTo>
                    <a:pt x="899760" y="207458"/>
                  </a:lnTo>
                  <a:close/>
                  <a:moveTo>
                    <a:pt x="112565" y="34477"/>
                  </a:moveTo>
                  <a:lnTo>
                    <a:pt x="112565" y="103756"/>
                  </a:lnTo>
                  <a:lnTo>
                    <a:pt x="86355" y="103756"/>
                  </a:lnTo>
                  <a:lnTo>
                    <a:pt x="112565" y="34477"/>
                  </a:lnTo>
                  <a:close/>
                  <a:moveTo>
                    <a:pt x="69225" y="0"/>
                  </a:moveTo>
                  <a:lnTo>
                    <a:pt x="0" y="207458"/>
                  </a:lnTo>
                  <a:lnTo>
                    <a:pt x="51878" y="207458"/>
                  </a:lnTo>
                  <a:lnTo>
                    <a:pt x="77817" y="138450"/>
                  </a:lnTo>
                  <a:lnTo>
                    <a:pt x="112565" y="138450"/>
                  </a:lnTo>
                  <a:lnTo>
                    <a:pt x="112565" y="207458"/>
                  </a:lnTo>
                  <a:lnTo>
                    <a:pt x="164443" y="207458"/>
                  </a:lnTo>
                  <a:lnTo>
                    <a:pt x="164443" y="0"/>
                  </a:lnTo>
                  <a:lnTo>
                    <a:pt x="69225" y="0"/>
                  </a:lnTo>
                  <a:close/>
                  <a:moveTo>
                    <a:pt x="190328" y="207458"/>
                  </a:moveTo>
                  <a:lnTo>
                    <a:pt x="242206" y="207458"/>
                  </a:lnTo>
                  <a:lnTo>
                    <a:pt x="242206" y="0"/>
                  </a:lnTo>
                  <a:lnTo>
                    <a:pt x="190328" y="0"/>
                  </a:lnTo>
                  <a:lnTo>
                    <a:pt x="190328" y="207458"/>
                  </a:lnTo>
                  <a:close/>
                  <a:moveTo>
                    <a:pt x="328615" y="0"/>
                  </a:moveTo>
                  <a:lnTo>
                    <a:pt x="328615" y="207458"/>
                  </a:lnTo>
                  <a:lnTo>
                    <a:pt x="380493" y="207458"/>
                  </a:lnTo>
                  <a:lnTo>
                    <a:pt x="380493" y="103756"/>
                  </a:lnTo>
                  <a:lnTo>
                    <a:pt x="415295" y="103756"/>
                  </a:lnTo>
                  <a:lnTo>
                    <a:pt x="415295" y="172981"/>
                  </a:lnTo>
                  <a:lnTo>
                    <a:pt x="432641" y="207458"/>
                  </a:lnTo>
                  <a:lnTo>
                    <a:pt x="553798" y="207458"/>
                  </a:lnTo>
                  <a:lnTo>
                    <a:pt x="553798" y="103756"/>
                  </a:lnTo>
                  <a:lnTo>
                    <a:pt x="579737" y="103756"/>
                  </a:lnTo>
                  <a:lnTo>
                    <a:pt x="579737" y="207458"/>
                  </a:lnTo>
                  <a:lnTo>
                    <a:pt x="631561" y="207458"/>
                  </a:lnTo>
                  <a:lnTo>
                    <a:pt x="631561" y="103756"/>
                  </a:lnTo>
                  <a:lnTo>
                    <a:pt x="657555" y="103756"/>
                  </a:lnTo>
                  <a:lnTo>
                    <a:pt x="657555" y="207458"/>
                  </a:lnTo>
                  <a:lnTo>
                    <a:pt x="709433" y="207458"/>
                  </a:lnTo>
                  <a:lnTo>
                    <a:pt x="709433" y="103756"/>
                  </a:lnTo>
                  <a:lnTo>
                    <a:pt x="735372" y="103756"/>
                  </a:lnTo>
                  <a:lnTo>
                    <a:pt x="735372" y="69225"/>
                  </a:lnTo>
                  <a:lnTo>
                    <a:pt x="709433" y="69225"/>
                  </a:lnTo>
                  <a:lnTo>
                    <a:pt x="709433" y="34477"/>
                  </a:lnTo>
                  <a:lnTo>
                    <a:pt x="657555" y="34477"/>
                  </a:lnTo>
                  <a:lnTo>
                    <a:pt x="657555" y="69225"/>
                  </a:lnTo>
                  <a:lnTo>
                    <a:pt x="631561" y="69225"/>
                  </a:lnTo>
                  <a:lnTo>
                    <a:pt x="631561" y="34477"/>
                  </a:lnTo>
                  <a:lnTo>
                    <a:pt x="579737" y="34477"/>
                  </a:lnTo>
                  <a:lnTo>
                    <a:pt x="579737" y="69225"/>
                  </a:lnTo>
                  <a:lnTo>
                    <a:pt x="501650" y="69225"/>
                  </a:lnTo>
                  <a:lnTo>
                    <a:pt x="501650" y="172927"/>
                  </a:lnTo>
                  <a:lnTo>
                    <a:pt x="467173" y="172927"/>
                  </a:lnTo>
                  <a:lnTo>
                    <a:pt x="467173" y="69225"/>
                  </a:lnTo>
                  <a:lnTo>
                    <a:pt x="380547" y="69225"/>
                  </a:lnTo>
                  <a:lnTo>
                    <a:pt x="380547" y="34477"/>
                  </a:lnTo>
                  <a:lnTo>
                    <a:pt x="467173" y="34477"/>
                  </a:lnTo>
                  <a:lnTo>
                    <a:pt x="467173" y="0"/>
                  </a:lnTo>
                  <a:lnTo>
                    <a:pt x="328669" y="0"/>
                  </a:lnTo>
                  <a:close/>
                  <a:moveTo>
                    <a:pt x="899760" y="34477"/>
                  </a:moveTo>
                  <a:lnTo>
                    <a:pt x="951692" y="34477"/>
                  </a:lnTo>
                  <a:lnTo>
                    <a:pt x="951692" y="0"/>
                  </a:lnTo>
                  <a:lnTo>
                    <a:pt x="899760" y="0"/>
                  </a:lnTo>
                  <a:lnTo>
                    <a:pt x="899760" y="34477"/>
                  </a:lnTo>
                  <a:close/>
                </a:path>
              </a:pathLst>
            </a:custGeom>
            <a:solidFill>
              <a:srgbClr val="004F9F"/>
            </a:solidFill>
            <a:ln w="538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3" name="Freeform: Shape 62">
              <a:extLst>
                <a:ext uri="{FF2B5EF4-FFF2-40B4-BE49-F238E27FC236}">
                  <a16:creationId xmlns:a16="http://schemas.microsoft.com/office/drawing/2014/main" id="{9F63A898-AD69-8BA5-07D1-AAA07974F88E}"/>
                </a:ext>
              </a:extLst>
            </p:cNvPr>
            <p:cNvSpPr/>
            <p:nvPr/>
          </p:nvSpPr>
          <p:spPr>
            <a:xfrm>
              <a:off x="9951588" y="538699"/>
              <a:ext cx="415348" cy="363146"/>
            </a:xfrm>
            <a:custGeom>
              <a:avLst/>
              <a:gdLst>
                <a:gd name="connsiteX0" fmla="*/ 156175 w 415348"/>
                <a:gd name="connsiteY0" fmla="*/ 155526 h 363146"/>
                <a:gd name="connsiteX1" fmla="*/ 207782 w 415348"/>
                <a:gd name="connsiteY1" fmla="*/ 103864 h 363146"/>
                <a:gd name="connsiteX2" fmla="*/ 259390 w 415348"/>
                <a:gd name="connsiteY2" fmla="*/ 155526 h 363146"/>
                <a:gd name="connsiteX3" fmla="*/ 207782 w 415348"/>
                <a:gd name="connsiteY3" fmla="*/ 207296 h 363146"/>
                <a:gd name="connsiteX4" fmla="*/ 156175 w 415348"/>
                <a:gd name="connsiteY4" fmla="*/ 155526 h 363146"/>
                <a:gd name="connsiteX5" fmla="*/ 207782 w 415348"/>
                <a:gd name="connsiteY5" fmla="*/ 0 h 363146"/>
                <a:gd name="connsiteX6" fmla="*/ 0 w 415348"/>
                <a:gd name="connsiteY6" fmla="*/ 207350 h 363146"/>
                <a:gd name="connsiteX7" fmla="*/ 51986 w 415348"/>
                <a:gd name="connsiteY7" fmla="*/ 259228 h 363146"/>
                <a:gd name="connsiteX8" fmla="*/ 104134 w 415348"/>
                <a:gd name="connsiteY8" fmla="*/ 207512 h 363146"/>
                <a:gd name="connsiteX9" fmla="*/ 155904 w 415348"/>
                <a:gd name="connsiteY9" fmla="*/ 259499 h 363146"/>
                <a:gd name="connsiteX10" fmla="*/ 103810 w 415348"/>
                <a:gd name="connsiteY10" fmla="*/ 311593 h 363146"/>
                <a:gd name="connsiteX11" fmla="*/ 155904 w 415348"/>
                <a:gd name="connsiteY11" fmla="*/ 363147 h 363146"/>
                <a:gd name="connsiteX12" fmla="*/ 206810 w 415348"/>
                <a:gd name="connsiteY12" fmla="*/ 311431 h 363146"/>
                <a:gd name="connsiteX13" fmla="*/ 259823 w 415348"/>
                <a:gd name="connsiteY13" fmla="*/ 363147 h 363146"/>
                <a:gd name="connsiteX14" fmla="*/ 311485 w 415348"/>
                <a:gd name="connsiteY14" fmla="*/ 311431 h 363146"/>
                <a:gd name="connsiteX15" fmla="*/ 259823 w 415348"/>
                <a:gd name="connsiteY15" fmla="*/ 259769 h 363146"/>
                <a:gd name="connsiteX16" fmla="*/ 312025 w 415348"/>
                <a:gd name="connsiteY16" fmla="*/ 207512 h 363146"/>
                <a:gd name="connsiteX17" fmla="*/ 363633 w 415348"/>
                <a:gd name="connsiteY17" fmla="*/ 259228 h 363146"/>
                <a:gd name="connsiteX18" fmla="*/ 415349 w 415348"/>
                <a:gd name="connsiteY18" fmla="*/ 207512 h 363146"/>
                <a:gd name="connsiteX19" fmla="*/ 207782 w 415348"/>
                <a:gd name="connsiteY19" fmla="*/ 0 h 3631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415348" h="363146">
                  <a:moveTo>
                    <a:pt x="156175" y="155526"/>
                  </a:moveTo>
                  <a:lnTo>
                    <a:pt x="207782" y="103864"/>
                  </a:lnTo>
                  <a:lnTo>
                    <a:pt x="259390" y="155526"/>
                  </a:lnTo>
                  <a:lnTo>
                    <a:pt x="207782" y="207296"/>
                  </a:lnTo>
                  <a:lnTo>
                    <a:pt x="156175" y="155526"/>
                  </a:lnTo>
                  <a:close/>
                  <a:moveTo>
                    <a:pt x="207782" y="0"/>
                  </a:moveTo>
                  <a:lnTo>
                    <a:pt x="0" y="207350"/>
                  </a:lnTo>
                  <a:lnTo>
                    <a:pt x="51986" y="259228"/>
                  </a:lnTo>
                  <a:lnTo>
                    <a:pt x="104134" y="207512"/>
                  </a:lnTo>
                  <a:lnTo>
                    <a:pt x="155904" y="259499"/>
                  </a:lnTo>
                  <a:lnTo>
                    <a:pt x="103810" y="311593"/>
                  </a:lnTo>
                  <a:lnTo>
                    <a:pt x="155904" y="363147"/>
                  </a:lnTo>
                  <a:lnTo>
                    <a:pt x="206810" y="311431"/>
                  </a:lnTo>
                  <a:lnTo>
                    <a:pt x="259823" y="363147"/>
                  </a:lnTo>
                  <a:lnTo>
                    <a:pt x="311485" y="311431"/>
                  </a:lnTo>
                  <a:lnTo>
                    <a:pt x="259823" y="259769"/>
                  </a:lnTo>
                  <a:lnTo>
                    <a:pt x="312025" y="207512"/>
                  </a:lnTo>
                  <a:lnTo>
                    <a:pt x="363633" y="259228"/>
                  </a:lnTo>
                  <a:lnTo>
                    <a:pt x="415349" y="207512"/>
                  </a:lnTo>
                  <a:lnTo>
                    <a:pt x="207782" y="0"/>
                  </a:lnTo>
                  <a:close/>
                </a:path>
              </a:pathLst>
            </a:custGeom>
            <a:solidFill>
              <a:schemeClr val="accent2"/>
            </a:solidFill>
            <a:ln w="538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60" name="Date Placeholder 3">
            <a:extLst>
              <a:ext uri="{FF2B5EF4-FFF2-40B4-BE49-F238E27FC236}">
                <a16:creationId xmlns:a16="http://schemas.microsoft.com/office/drawing/2014/main" id="{6A634AEF-4759-25B2-1BC2-9C7D670CB1E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673821" y="6462506"/>
            <a:ext cx="639762" cy="123111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algn="r">
              <a:defRPr sz="800">
                <a:solidFill>
                  <a:schemeClr val="tx2"/>
                </a:solidFill>
              </a:defRPr>
            </a:lvl1pPr>
          </a:lstStyle>
          <a:p>
            <a:fld id="{7176DF7C-6FEF-43AC-8941-E0621A879D91}" type="datetime1">
              <a:rPr lang="en-US" smtClean="0"/>
              <a:t>21/08/2025</a:t>
            </a:fld>
            <a:endParaRPr lang="en-US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B798EA01-246B-E255-B5E8-CC52DDEE51F8}"/>
              </a:ext>
            </a:extLst>
          </p:cNvPr>
          <p:cNvSpPr txBox="1"/>
          <p:nvPr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5124450" y="6642100"/>
            <a:ext cx="1971675" cy="15240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n-US" sz="1000">
                <a:solidFill>
                  <a:srgbClr val="000000">
                    <a:alpha val="50000"/>
                  </a:srgb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Restricted : General Al-Futtaim Group</a:t>
            </a:r>
          </a:p>
        </p:txBody>
      </p:sp>
    </p:spTree>
    <p:extLst>
      <p:ext uri="{BB962C8B-B14F-4D97-AF65-F5344CB8AC3E}">
        <p14:creationId xmlns:p14="http://schemas.microsoft.com/office/powerpoint/2010/main" val="370253743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1" r:id="rId2"/>
    <p:sldLayoutId id="2147483652" r:id="rId3"/>
    <p:sldLayoutId id="2147483653" r:id="rId4"/>
    <p:sldLayoutId id="2147483654" r:id="rId5"/>
    <p:sldLayoutId id="2147483655" r:id="rId6"/>
    <p:sldLayoutId id="2147483664" r:id="rId7"/>
    <p:sldLayoutId id="2147483663" r:id="rId8"/>
    <p:sldLayoutId id="2147483656" r:id="rId9"/>
    <p:sldLayoutId id="2147483650" r:id="rId10"/>
    <p:sldLayoutId id="2147483657" r:id="rId11"/>
    <p:sldLayoutId id="2147483658" r:id="rId12"/>
    <p:sldLayoutId id="2147483659" r:id="rId13"/>
    <p:sldLayoutId id="2147483660" r:id="rId14"/>
    <p:sldLayoutId id="2147483661" r:id="rId15"/>
    <p:sldLayoutId id="2147483662" r:id="rId16"/>
    <p:sldLayoutId id="2147483671" r:id="rId17"/>
    <p:sldLayoutId id="2147483672" r:id="rId18"/>
    <p:sldLayoutId id="2147483673" r:id="rId19"/>
    <p:sldLayoutId id="2147483680" r:id="rId20"/>
    <p:sldLayoutId id="2147483674" r:id="rId21"/>
    <p:sldLayoutId id="2147483675" r:id="rId22"/>
    <p:sldLayoutId id="2147483681" r:id="rId23"/>
    <p:sldLayoutId id="2147483676" r:id="rId24"/>
    <p:sldLayoutId id="2147483677" r:id="rId25"/>
    <p:sldLayoutId id="2147483665" r:id="rId26"/>
    <p:sldLayoutId id="2147483682" r:id="rId27"/>
    <p:sldLayoutId id="2147483666" r:id="rId28"/>
    <p:sldLayoutId id="2147483667" r:id="rId29"/>
    <p:sldLayoutId id="2147483668" r:id="rId30"/>
    <p:sldLayoutId id="2147483669" r:id="rId31"/>
    <p:sldLayoutId id="2147483670" r:id="rId32"/>
    <p:sldLayoutId id="2147483678" r:id="rId33"/>
    <p:sldLayoutId id="2147483679" r:id="rId34"/>
    <p:sldLayoutId id="2147483696" r:id="rId35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Symbol" panose="05050102010706020507" pitchFamily="18" charset="2"/>
        <a:buNone/>
        <a:defRPr sz="1400" kern="1200">
          <a:solidFill>
            <a:schemeClr val="tx2"/>
          </a:solidFill>
          <a:latin typeface="+mn-lt"/>
          <a:ea typeface="+mn-ea"/>
          <a:cs typeface="+mn-cs"/>
        </a:defRPr>
      </a:lvl1pPr>
      <a:lvl2pPr marL="180000" indent="-1800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sz="1400" kern="1200">
          <a:solidFill>
            <a:schemeClr val="tx2"/>
          </a:solidFill>
          <a:latin typeface="+mn-lt"/>
          <a:ea typeface="+mn-ea"/>
          <a:cs typeface="+mn-cs"/>
        </a:defRPr>
      </a:lvl2pPr>
      <a:lvl3pPr marL="360000" indent="-1800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sz="1400" kern="1200">
          <a:solidFill>
            <a:schemeClr val="tx2"/>
          </a:solidFill>
          <a:latin typeface="+mn-lt"/>
          <a:ea typeface="+mn-ea"/>
          <a:cs typeface="+mn-cs"/>
        </a:defRPr>
      </a:lvl3pPr>
      <a:lvl4pPr marL="540000" indent="-1800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sz="1400" kern="1200">
          <a:solidFill>
            <a:schemeClr val="tx2"/>
          </a:solidFill>
          <a:latin typeface="+mn-lt"/>
          <a:ea typeface="+mn-ea"/>
          <a:cs typeface="+mn-cs"/>
        </a:defRPr>
      </a:lvl4pPr>
      <a:lvl5pPr marL="825750" indent="-2857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sz="1400" kern="1200">
          <a:solidFill>
            <a:schemeClr val="tx2"/>
          </a:solidFill>
          <a:latin typeface="+mn-lt"/>
          <a:ea typeface="+mn-ea"/>
          <a:cs typeface="+mn-cs"/>
        </a:defRPr>
      </a:lvl5pPr>
      <a:lvl6pPr marL="900000" indent="-1800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sz="1400" kern="1200">
          <a:solidFill>
            <a:schemeClr val="tx2"/>
          </a:solidFill>
          <a:latin typeface="+mn-lt"/>
          <a:ea typeface="+mn-ea"/>
          <a:cs typeface="+mn-cs"/>
        </a:defRPr>
      </a:lvl6pPr>
      <a:lvl7pPr marL="1080000" indent="-1800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sz="1400" kern="1200">
          <a:solidFill>
            <a:schemeClr val="tx2"/>
          </a:solidFill>
          <a:latin typeface="+mn-lt"/>
          <a:ea typeface="+mn-ea"/>
          <a:cs typeface="+mn-cs"/>
        </a:defRPr>
      </a:lvl7pPr>
      <a:lvl8pPr marL="12600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sz="1400" kern="1200">
          <a:solidFill>
            <a:schemeClr val="tx2"/>
          </a:solidFill>
          <a:latin typeface="+mn-lt"/>
          <a:ea typeface="+mn-ea"/>
          <a:cs typeface="+mn-cs"/>
        </a:defRPr>
      </a:lvl8pPr>
      <a:lvl9pPr marL="1440000" indent="-1800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sz="14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980" userDrawn="1">
          <p15:clr>
            <a:srgbClr val="F26B43"/>
          </p15:clr>
        </p15:guide>
        <p15:guide id="3" pos="339" userDrawn="1">
          <p15:clr>
            <a:srgbClr val="F26B43"/>
          </p15:clr>
        </p15:guide>
        <p15:guide id="4" pos="7340" userDrawn="1">
          <p15:clr>
            <a:srgbClr val="F26B43"/>
          </p15:clr>
        </p15:guide>
        <p15:guide id="5" orient="horz" pos="1019" userDrawn="1">
          <p15:clr>
            <a:srgbClr val="F26B43"/>
          </p15:clr>
        </p15:guide>
        <p15:guide id="6" orient="horz" pos="339" userDrawn="1">
          <p15:clr>
            <a:srgbClr val="F26B43"/>
          </p15:clr>
        </p15:guide>
        <p15:guide id="7" orient="horz" pos="851" userDrawn="1">
          <p15:clr>
            <a:srgbClr val="F26B43"/>
          </p15:clr>
        </p15:guide>
        <p15:guide id="8" orient="horz" pos="4149" userDrawn="1">
          <p15:clr>
            <a:srgbClr val="F26B43"/>
          </p15:clr>
        </p15:guide>
        <p15:guide id="9" orient="horz" pos="3808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Object 1" hidden="1">
            <a:extLst>
              <a:ext uri="{FF2B5EF4-FFF2-40B4-BE49-F238E27FC236}">
                <a16:creationId xmlns:a16="http://schemas.microsoft.com/office/drawing/2014/main" id="{495745DE-65CD-4F8F-A261-B1F6844343A4}"/>
              </a:ext>
            </a:extLst>
          </p:cNvPr>
          <p:cNvGraphicFramePr>
            <a:graphicFrameLocks noChangeAspect="1"/>
          </p:cNvGraphicFramePr>
          <p:nvPr>
            <p:custDataLst>
              <p:tags r:id="rId13"/>
            </p:custDataLst>
          </p:nvPr>
        </p:nvGraphicFramePr>
        <p:xfrm>
          <a:off x="0" y="0"/>
          <a:ext cx="215430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0" imgW="360" imgH="360" progId="TCLayout.ActiveDocument.1">
                  <p:embed/>
                </p:oleObj>
              </mc:Choice>
              <mc:Fallback>
                <p:oleObj name="think-cell Slide" r:id="rId30" imgW="360" imgH="360" progId="TCLayout.ActiveDocument.1">
                  <p:embed/>
                  <p:pic>
                    <p:nvPicPr>
                      <p:cNvPr id="1026" name="Object 1" hidden="1">
                        <a:extLst>
                          <a:ext uri="{FF2B5EF4-FFF2-40B4-BE49-F238E27FC236}">
                            <a16:creationId xmlns:a16="http://schemas.microsoft.com/office/drawing/2014/main" id="{495745DE-65CD-4F8F-A261-B1F6844343A4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3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5430" cy="161974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F350EA72-916C-45A9-8CEE-73C22063F242}"/>
              </a:ext>
            </a:extLst>
          </p:cNvPr>
          <p:cNvSpPr/>
          <p:nvPr>
            <p:custDataLst>
              <p:tags r:id="rId14"/>
            </p:custDataLst>
          </p:nvPr>
        </p:nvSpPr>
        <p:spPr bwMode="auto">
          <a:xfrm>
            <a:off x="0" y="0"/>
            <a:ext cx="215430" cy="161974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eaLnBrk="1" hangingPunct="1">
              <a:defRPr/>
            </a:pPr>
            <a:endParaRPr lang="x-none" sz="1837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1034" name="Working Draft" hidden="1">
            <a:extLst>
              <a:ext uri="{FF2B5EF4-FFF2-40B4-BE49-F238E27FC236}">
                <a16:creationId xmlns:a16="http://schemas.microsoft.com/office/drawing/2014/main" id="{C56466F6-EF07-4248-BA69-DABE7809A173}"/>
              </a:ext>
            </a:extLst>
          </p:cNvPr>
          <p:cNvSpPr txBox="1">
            <a:spLocks noChangeArrowheads="1"/>
          </p:cNvSpPr>
          <p:nvPr/>
        </p:nvSpPr>
        <p:spPr bwMode="gray">
          <a:xfrm rot="5400000">
            <a:off x="11113461" y="1979058"/>
            <a:ext cx="1965947" cy="96108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en-GB" sz="612">
                <a:solidFill>
                  <a:srgbClr val="808080"/>
                </a:solidFill>
                <a:latin typeface="+mn-lt"/>
              </a:rPr>
              <a:t>Last Modified 12/08/2020 04:05 Arabian Standard Time</a:t>
            </a:r>
            <a:endParaRPr sz="1632">
              <a:solidFill>
                <a:srgbClr val="808080"/>
              </a:solidFill>
              <a:latin typeface="+mn-lt"/>
            </a:endParaRPr>
          </a:p>
        </p:txBody>
      </p:sp>
      <p:sp>
        <p:nvSpPr>
          <p:cNvPr id="1035" name="Printed" hidden="1">
            <a:extLst>
              <a:ext uri="{FF2B5EF4-FFF2-40B4-BE49-F238E27FC236}">
                <a16:creationId xmlns:a16="http://schemas.microsoft.com/office/drawing/2014/main" id="{4C62C3A9-AD64-4F14-A658-E20D7123F4F9}"/>
              </a:ext>
            </a:extLst>
          </p:cNvPr>
          <p:cNvSpPr txBox="1">
            <a:spLocks noChangeArrowheads="1"/>
          </p:cNvSpPr>
          <p:nvPr/>
        </p:nvSpPr>
        <p:spPr bwMode="gray">
          <a:xfrm rot="5400000">
            <a:off x="11224679" y="4197298"/>
            <a:ext cx="1743510" cy="96108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en-GB" sz="612">
                <a:solidFill>
                  <a:srgbClr val="808080"/>
                </a:solidFill>
                <a:latin typeface="+mn-lt"/>
              </a:rPr>
              <a:t>Printed 25/07/2020 16:01 Arabian Standard Time</a:t>
            </a:r>
            <a:endParaRPr sz="1632">
              <a:solidFill>
                <a:srgbClr val="808080"/>
              </a:solidFill>
              <a:latin typeface="+mn-lt"/>
            </a:endParaRPr>
          </a:p>
        </p:txBody>
      </p:sp>
      <p:sp>
        <p:nvSpPr>
          <p:cNvPr id="1030" name="Title Placeholder 2">
            <a:extLst>
              <a:ext uri="{FF2B5EF4-FFF2-40B4-BE49-F238E27FC236}">
                <a16:creationId xmlns:a16="http://schemas.microsoft.com/office/drawing/2014/main" id="{65A41C96-0F77-4267-817E-43D9C45EF475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gray">
          <a:xfrm>
            <a:off x="163597" y="234864"/>
            <a:ext cx="11725506" cy="3142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en-US"/>
              <a:t>Click to edit Master title style</a:t>
            </a:r>
          </a:p>
        </p:txBody>
      </p:sp>
      <p:sp>
        <p:nvSpPr>
          <p:cNvPr id="10" name="1. On-page tracker" hidden="1">
            <a:extLst>
              <a:ext uri="{FF2B5EF4-FFF2-40B4-BE49-F238E27FC236}">
                <a16:creationId xmlns:a16="http://schemas.microsoft.com/office/drawing/2014/main" id="{931442EE-D1A0-4B63-8089-4E8E00F02D04}"/>
              </a:ext>
            </a:extLst>
          </p:cNvPr>
          <p:cNvSpPr>
            <a:spLocks noChangeArrowheads="1"/>
          </p:cNvSpPr>
          <p:nvPr/>
        </p:nvSpPr>
        <p:spPr bwMode="gray">
          <a:xfrm>
            <a:off x="161977" y="77748"/>
            <a:ext cx="511939" cy="128097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 lIns="0" tIns="0" rIns="0" bIns="0">
            <a:spAutoFit/>
          </a:bodyPr>
          <a:lstStyle/>
          <a:p>
            <a:pPr eaLnBrk="1" hangingPunct="1">
              <a:defRPr/>
            </a:pPr>
            <a:r>
              <a:rPr lang="x-none" sz="816" cap="all">
                <a:solidFill>
                  <a:schemeClr val="accent6"/>
                </a:solidFill>
                <a:latin typeface="+mn-lt"/>
              </a:rPr>
              <a:t>TRACKER</a:t>
            </a:r>
          </a:p>
        </p:txBody>
      </p:sp>
      <p:sp>
        <p:nvSpPr>
          <p:cNvPr id="11" name="3. Unit of measure" hidden="1">
            <a:extLst>
              <a:ext uri="{FF2B5EF4-FFF2-40B4-BE49-F238E27FC236}">
                <a16:creationId xmlns:a16="http://schemas.microsoft.com/office/drawing/2014/main" id="{13AE87C4-B8F6-45A9-8AE8-D7105903C5DF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161977" y="566911"/>
            <a:ext cx="11725507" cy="256260"/>
          </a:xfrm>
          <a:prstGeom prst="rect">
            <a:avLst/>
          </a:prstGeom>
          <a:noFill/>
          <a:ln>
            <a:noFill/>
          </a:ln>
          <a:effectLst/>
        </p:spPr>
        <p:txBody>
          <a:bodyPr lIns="0" tIns="0" rIns="0" bIns="0">
            <a:spAutoFit/>
          </a:bodyPr>
          <a:lstStyle>
            <a:lvl1pPr defTabSz="895350">
              <a:defRPr lang="x-none"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lang="x-none"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lang="x-none"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lang="x-none"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lang="x-none"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sz="1632">
                <a:solidFill>
                  <a:schemeClr val="accent6"/>
                </a:solidFill>
                <a:latin typeface="+mn-lt"/>
              </a:rPr>
              <a:t>Unit of measure</a:t>
            </a:r>
          </a:p>
        </p:txBody>
      </p:sp>
      <p:sp>
        <p:nvSpPr>
          <p:cNvPr id="1033" name="Text Placeholder 2">
            <a:extLst>
              <a:ext uri="{FF2B5EF4-FFF2-40B4-BE49-F238E27FC236}">
                <a16:creationId xmlns:a16="http://schemas.microsoft.com/office/drawing/2014/main" id="{2BBE072D-B39F-4DDA-9700-6AFCBC42F297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gray">
          <a:xfrm>
            <a:off x="2696916" y="2716313"/>
            <a:ext cx="5852224" cy="125530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en-US"/>
              <a:t>Click to 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r>
              <a:rPr lang="en-US" altLang="en-US"/>
              <a:t>Fifth level</a:t>
            </a:r>
          </a:p>
        </p:txBody>
      </p:sp>
      <p:grpSp>
        <p:nvGrpSpPr>
          <p:cNvPr id="2" name="ACET" hidden="1">
            <a:extLst>
              <a:ext uri="{FF2B5EF4-FFF2-40B4-BE49-F238E27FC236}">
                <a16:creationId xmlns:a16="http://schemas.microsoft.com/office/drawing/2014/main" id="{61FAE8AD-BB5E-4989-832A-BBF00F7BA2FA}"/>
              </a:ext>
            </a:extLst>
          </p:cNvPr>
          <p:cNvGrpSpPr>
            <a:grpSpLocks/>
          </p:cNvGrpSpPr>
          <p:nvPr/>
        </p:nvGrpSpPr>
        <p:grpSpPr bwMode="auto">
          <a:xfrm>
            <a:off x="2696916" y="1995526"/>
            <a:ext cx="5800391" cy="531276"/>
            <a:chOff x="915" y="702"/>
            <a:chExt cx="2686" cy="328"/>
          </a:xfrm>
        </p:grpSpPr>
        <p:cxnSp>
          <p:nvCxnSpPr>
            <p:cNvPr id="16" name="AutoShape 249">
              <a:extLst>
                <a:ext uri="{FF2B5EF4-FFF2-40B4-BE49-F238E27FC236}">
                  <a16:creationId xmlns:a16="http://schemas.microsoft.com/office/drawing/2014/main" id="{8ED9BC8A-4D2E-4E89-A49F-E394105344CD}"/>
                </a:ext>
              </a:extLst>
            </p:cNvPr>
            <p:cNvCxnSpPr>
              <a:cxnSpLocks noChangeShapeType="1"/>
              <a:stCxn id="1084" idx="4"/>
              <a:endCxn id="1084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</p:spPr>
        </p:cxnSp>
        <p:sp>
          <p:nvSpPr>
            <p:cNvPr id="1084" name="AutoShape 250">
              <a:extLst>
                <a:ext uri="{FF2B5EF4-FFF2-40B4-BE49-F238E27FC236}">
                  <a16:creationId xmlns:a16="http://schemas.microsoft.com/office/drawing/2014/main" id="{9FBD549D-4CDA-4E05-8BA8-3B54AA935297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915" y="702"/>
              <a:ext cx="2686" cy="32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>
              <a:lvl1pPr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r>
                <a:rPr lang="en-US" altLang="en-US" sz="1632" b="1">
                  <a:solidFill>
                    <a:srgbClr val="000000"/>
                  </a:solidFill>
                </a:rPr>
                <a:t>Title</a:t>
              </a:r>
            </a:p>
            <a:p>
              <a:pPr eaLnBrk="1" hangingPunct="1"/>
              <a:r>
                <a:rPr lang="en-US" altLang="en-US" sz="1632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sp>
        <p:nvSpPr>
          <p:cNvPr id="64" name="Rectangle 63">
            <a:extLst>
              <a:ext uri="{FF2B5EF4-FFF2-40B4-BE49-F238E27FC236}">
                <a16:creationId xmlns:a16="http://schemas.microsoft.com/office/drawing/2014/main" id="{C63ACEAC-C6B0-41E5-B556-86BA04F5FF5C}"/>
              </a:ext>
            </a:extLst>
          </p:cNvPr>
          <p:cNvSpPr/>
          <p:nvPr/>
        </p:nvSpPr>
        <p:spPr bwMode="ltGray">
          <a:xfrm>
            <a:off x="1" y="6559967"/>
            <a:ext cx="12192000" cy="298033"/>
          </a:xfrm>
          <a:prstGeom prst="rect">
            <a:avLst/>
          </a:prstGeom>
          <a:solidFill>
            <a:srgbClr val="152A38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en-US" sz="1837">
              <a:solidFill>
                <a:schemeClr val="tx1"/>
              </a:solidFill>
            </a:endParaRPr>
          </a:p>
        </p:txBody>
      </p:sp>
      <p:sp>
        <p:nvSpPr>
          <p:cNvPr id="66" name="Slide Number">
            <a:extLst>
              <a:ext uri="{FF2B5EF4-FFF2-40B4-BE49-F238E27FC236}">
                <a16:creationId xmlns:a16="http://schemas.microsoft.com/office/drawing/2014/main" id="{1187C83D-ACC0-4338-BCBA-6188D6C566E7}"/>
              </a:ext>
            </a:extLst>
          </p:cNvPr>
          <p:cNvSpPr txBox="1">
            <a:spLocks/>
          </p:cNvSpPr>
          <p:nvPr/>
        </p:nvSpPr>
        <p:spPr bwMode="ltGray">
          <a:xfrm>
            <a:off x="11756636" y="6639267"/>
            <a:ext cx="130848" cy="128097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algn="r" eaLnBrk="1" hangingPunct="1">
              <a:defRPr/>
            </a:pPr>
            <a:fld id="{EF94B6AB-4536-4756-A909-E92041948507}" type="slidenum">
              <a:rPr sz="816" smtClean="0">
                <a:solidFill>
                  <a:schemeClr val="bg1"/>
                </a:solidFill>
              </a:rPr>
              <a:pPr algn="r" eaLnBrk="1" hangingPunct="1">
                <a:defRPr/>
              </a:pPr>
              <a:t>‹#›</a:t>
            </a:fld>
            <a:endParaRPr sz="816">
              <a:solidFill>
                <a:schemeClr val="bg1"/>
              </a:solidFill>
            </a:endParaRPr>
          </a:p>
        </p:txBody>
      </p:sp>
      <p:grpSp>
        <p:nvGrpSpPr>
          <p:cNvPr id="1037" name="Slide Elements" hidden="1">
            <a:extLst>
              <a:ext uri="{FF2B5EF4-FFF2-40B4-BE49-F238E27FC236}">
                <a16:creationId xmlns:a16="http://schemas.microsoft.com/office/drawing/2014/main" id="{D88D2E6B-6208-462E-A363-E9C8E5CFA72E}"/>
              </a:ext>
            </a:extLst>
          </p:cNvPr>
          <p:cNvGrpSpPr>
            <a:grpSpLocks/>
          </p:cNvGrpSpPr>
          <p:nvPr/>
        </p:nvGrpSpPr>
        <p:grpSpPr bwMode="auto">
          <a:xfrm>
            <a:off x="161977" y="6376793"/>
            <a:ext cx="11725507" cy="390210"/>
            <a:chOff x="119063" y="6249337"/>
            <a:chExt cx="8618537" cy="382998"/>
          </a:xfrm>
        </p:grpSpPr>
        <p:sp>
          <p:nvSpPr>
            <p:cNvPr id="13" name="4. Footnote">
              <a:extLst>
                <a:ext uri="{FF2B5EF4-FFF2-40B4-BE49-F238E27FC236}">
                  <a16:creationId xmlns:a16="http://schemas.microsoft.com/office/drawing/2014/main" id="{3CA65476-F2BE-428F-98F3-A3E0D6FBBE96}"/>
                </a:ext>
              </a:extLst>
            </p:cNvPr>
            <p:cNvSpPr txBox="1">
              <a:spLocks noChangeArrowheads="1"/>
            </p:cNvSpPr>
            <p:nvPr/>
          </p:nvSpPr>
          <p:spPr bwMode="gray">
            <a:xfrm>
              <a:off x="119063" y="6249337"/>
              <a:ext cx="8618537" cy="125729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85846" indent="-85846" eaLnBrk="1" hangingPunct="1">
                <a:defRPr lang="x-none"/>
              </a:pPr>
              <a:r>
                <a:rPr sz="816">
                  <a:solidFill>
                    <a:srgbClr val="808080"/>
                  </a:solidFill>
                  <a:latin typeface="+mn-lt"/>
                </a:rPr>
                <a:t>1 Footnote</a:t>
              </a:r>
            </a:p>
          </p:txBody>
        </p:sp>
        <p:sp>
          <p:nvSpPr>
            <p:cNvPr id="1082" name="5. Source">
              <a:extLst>
                <a:ext uri="{FF2B5EF4-FFF2-40B4-BE49-F238E27FC236}">
                  <a16:creationId xmlns:a16="http://schemas.microsoft.com/office/drawing/2014/main" id="{B713F52A-DA66-4DA0-BFC3-D6364B7495F9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119063" y="6506606"/>
              <a:ext cx="7690797" cy="12572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>
              <a:lvl1pPr marL="514350" indent="-514350" defTabSz="89535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89535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89535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89535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89535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r>
                <a:rPr lang="en-US" altLang="en-US" sz="816">
                  <a:solidFill>
                    <a:schemeClr val="bg1"/>
                  </a:solidFill>
                </a:rPr>
                <a:t>SOURCE: Source</a:t>
              </a:r>
            </a:p>
          </p:txBody>
        </p:sp>
      </p:grpSp>
      <p:grpSp>
        <p:nvGrpSpPr>
          <p:cNvPr id="1038" name="LegendBoxes" hidden="1">
            <a:extLst>
              <a:ext uri="{FF2B5EF4-FFF2-40B4-BE49-F238E27FC236}">
                <a16:creationId xmlns:a16="http://schemas.microsoft.com/office/drawing/2014/main" id="{A39012C9-BA68-4B75-BB23-9EDD6EC49804}"/>
              </a:ext>
            </a:extLst>
          </p:cNvPr>
          <p:cNvGrpSpPr>
            <a:grpSpLocks/>
          </p:cNvGrpSpPr>
          <p:nvPr/>
        </p:nvGrpSpPr>
        <p:grpSpPr bwMode="auto">
          <a:xfrm>
            <a:off x="11108375" y="275357"/>
            <a:ext cx="788828" cy="1022060"/>
            <a:chOff x="4936" y="176"/>
            <a:chExt cx="487" cy="631"/>
          </a:xfrm>
        </p:grpSpPr>
        <p:sp>
          <p:nvSpPr>
            <p:cNvPr id="1073" name="Legend1">
              <a:extLst>
                <a:ext uri="{FF2B5EF4-FFF2-40B4-BE49-F238E27FC236}">
                  <a16:creationId xmlns:a16="http://schemas.microsoft.com/office/drawing/2014/main" id="{A948A4BB-0516-4838-941F-536D8360550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96" y="176"/>
              <a:ext cx="327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buClr>
                  <a:schemeClr val="tx2"/>
                </a:buClr>
              </a:pPr>
              <a:r>
                <a:rPr lang="en-US" altLang="en-US" sz="1224"/>
                <a:t>Legend</a:t>
              </a:r>
            </a:p>
          </p:txBody>
        </p:sp>
        <p:sp>
          <p:nvSpPr>
            <p:cNvPr id="1074" name="LegendRectangle1">
              <a:extLst>
                <a:ext uri="{FF2B5EF4-FFF2-40B4-BE49-F238E27FC236}">
                  <a16:creationId xmlns:a16="http://schemas.microsoft.com/office/drawing/2014/main" id="{8EEA361E-265B-414C-BFD9-6AB12AF79A3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endParaRPr lang="en-US" altLang="en-US" sz="1224"/>
            </a:p>
          </p:txBody>
        </p:sp>
        <p:sp>
          <p:nvSpPr>
            <p:cNvPr id="1075" name="Legend2">
              <a:extLst>
                <a:ext uri="{FF2B5EF4-FFF2-40B4-BE49-F238E27FC236}">
                  <a16:creationId xmlns:a16="http://schemas.microsoft.com/office/drawing/2014/main" id="{0BF2AB25-A5D7-4042-82D7-86C9C9127B1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96" y="346"/>
              <a:ext cx="327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buClr>
                  <a:schemeClr val="tx2"/>
                </a:buClr>
              </a:pPr>
              <a:r>
                <a:rPr lang="en-US" altLang="en-US" sz="1224"/>
                <a:t>Legend</a:t>
              </a:r>
            </a:p>
          </p:txBody>
        </p:sp>
        <p:sp>
          <p:nvSpPr>
            <p:cNvPr id="1076" name="LegendRectangle2">
              <a:extLst>
                <a:ext uri="{FF2B5EF4-FFF2-40B4-BE49-F238E27FC236}">
                  <a16:creationId xmlns:a16="http://schemas.microsoft.com/office/drawing/2014/main" id="{8F1AF581-37EA-4B54-A7B4-DBB93C1E674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endParaRPr lang="en-US" altLang="en-US" sz="1224"/>
            </a:p>
          </p:txBody>
        </p:sp>
        <p:sp>
          <p:nvSpPr>
            <p:cNvPr id="1077" name="Legend3">
              <a:extLst>
                <a:ext uri="{FF2B5EF4-FFF2-40B4-BE49-F238E27FC236}">
                  <a16:creationId xmlns:a16="http://schemas.microsoft.com/office/drawing/2014/main" id="{E7D17EA0-463A-4558-ADF1-C0D0D9F4B4D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96" y="517"/>
              <a:ext cx="327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buClr>
                  <a:schemeClr val="tx2"/>
                </a:buClr>
              </a:pPr>
              <a:r>
                <a:rPr lang="en-US" altLang="en-US" sz="1224"/>
                <a:t>Legend</a:t>
              </a:r>
            </a:p>
          </p:txBody>
        </p:sp>
        <p:sp>
          <p:nvSpPr>
            <p:cNvPr id="1078" name="LegendRectangle3">
              <a:extLst>
                <a:ext uri="{FF2B5EF4-FFF2-40B4-BE49-F238E27FC236}">
                  <a16:creationId xmlns:a16="http://schemas.microsoft.com/office/drawing/2014/main" id="{5900952F-562B-4EE3-9DB5-59995BD7ED1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endParaRPr lang="en-US" altLang="en-US" sz="1224"/>
            </a:p>
          </p:txBody>
        </p:sp>
        <p:sp>
          <p:nvSpPr>
            <p:cNvPr id="1079" name="Legend4">
              <a:extLst>
                <a:ext uri="{FF2B5EF4-FFF2-40B4-BE49-F238E27FC236}">
                  <a16:creationId xmlns:a16="http://schemas.microsoft.com/office/drawing/2014/main" id="{0248D2EF-996C-432C-A811-3CE80F33041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96" y="688"/>
              <a:ext cx="327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buClr>
                  <a:schemeClr val="tx2"/>
                </a:buClr>
              </a:pPr>
              <a:r>
                <a:rPr lang="en-US" altLang="en-US" sz="1224"/>
                <a:t>Legend</a:t>
              </a:r>
            </a:p>
          </p:txBody>
        </p:sp>
        <p:sp>
          <p:nvSpPr>
            <p:cNvPr id="1080" name="LegendRectangle4">
              <a:extLst>
                <a:ext uri="{FF2B5EF4-FFF2-40B4-BE49-F238E27FC236}">
                  <a16:creationId xmlns:a16="http://schemas.microsoft.com/office/drawing/2014/main" id="{C171C472-DB04-4AAE-881B-50DDD25DB4A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endParaRPr lang="en-US" altLang="en-US" sz="1224"/>
            </a:p>
          </p:txBody>
        </p:sp>
      </p:grpSp>
      <p:grpSp>
        <p:nvGrpSpPr>
          <p:cNvPr id="1039" name="LegendLines" hidden="1">
            <a:extLst>
              <a:ext uri="{FF2B5EF4-FFF2-40B4-BE49-F238E27FC236}">
                <a16:creationId xmlns:a16="http://schemas.microsoft.com/office/drawing/2014/main" id="{85C8E763-32C7-4BA0-A9C3-73BCA402E7D1}"/>
              </a:ext>
            </a:extLst>
          </p:cNvPr>
          <p:cNvGrpSpPr>
            <a:grpSpLocks/>
          </p:cNvGrpSpPr>
          <p:nvPr/>
        </p:nvGrpSpPr>
        <p:grpSpPr bwMode="auto">
          <a:xfrm>
            <a:off x="10794139" y="275357"/>
            <a:ext cx="1103063" cy="749942"/>
            <a:chOff x="4750" y="176"/>
            <a:chExt cx="681" cy="463"/>
          </a:xfrm>
        </p:grpSpPr>
        <p:sp>
          <p:nvSpPr>
            <p:cNvPr id="77" name="LineLegend1">
              <a:extLst>
                <a:ext uri="{FF2B5EF4-FFF2-40B4-BE49-F238E27FC236}">
                  <a16:creationId xmlns:a16="http://schemas.microsoft.com/office/drawing/2014/main" id="{53E1249D-5426-459B-8513-F20BB00FBED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pPr eaLnBrk="1" hangingPunct="1">
                <a:defRPr/>
              </a:pPr>
              <a:endParaRPr lang="en-US" sz="1224">
                <a:latin typeface="+mn-lt"/>
              </a:endParaRPr>
            </a:p>
          </p:txBody>
        </p:sp>
        <p:sp>
          <p:nvSpPr>
            <p:cNvPr id="78" name="LineLegend2">
              <a:extLst>
                <a:ext uri="{FF2B5EF4-FFF2-40B4-BE49-F238E27FC236}">
                  <a16:creationId xmlns:a16="http://schemas.microsoft.com/office/drawing/2014/main" id="{8351C01B-9042-4F5E-A030-C73DC47DA9D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</p:spPr>
          <p:txBody>
            <a:bodyPr/>
            <a:lstStyle/>
            <a:p>
              <a:pPr eaLnBrk="1" hangingPunct="1">
                <a:defRPr/>
              </a:pPr>
              <a:endParaRPr lang="en-US" sz="1224">
                <a:latin typeface="+mn-lt"/>
              </a:endParaRPr>
            </a:p>
          </p:txBody>
        </p:sp>
        <p:sp>
          <p:nvSpPr>
            <p:cNvPr id="79" name="LineLegend3">
              <a:extLst>
                <a:ext uri="{FF2B5EF4-FFF2-40B4-BE49-F238E27FC236}">
                  <a16:creationId xmlns:a16="http://schemas.microsoft.com/office/drawing/2014/main" id="{A28EE84D-6A66-4970-92EF-5838DB9D7FE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</p:spPr>
          <p:txBody>
            <a:bodyPr/>
            <a:lstStyle/>
            <a:p>
              <a:pPr eaLnBrk="1" hangingPunct="1">
                <a:defRPr/>
              </a:pPr>
              <a:endParaRPr lang="en-US" sz="1224">
                <a:latin typeface="+mn-lt"/>
              </a:endParaRPr>
            </a:p>
          </p:txBody>
        </p:sp>
        <p:sp>
          <p:nvSpPr>
            <p:cNvPr id="1070" name="Legend1">
              <a:extLst>
                <a:ext uri="{FF2B5EF4-FFF2-40B4-BE49-F238E27FC236}">
                  <a16:creationId xmlns:a16="http://schemas.microsoft.com/office/drawing/2014/main" id="{31BB8EBE-A231-4FC6-85A4-B4DD1BFFC37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04" y="176"/>
              <a:ext cx="327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buClr>
                  <a:schemeClr val="tx2"/>
                </a:buClr>
              </a:pPr>
              <a:r>
                <a:rPr lang="en-US" altLang="en-US" sz="1224"/>
                <a:t>Legend</a:t>
              </a:r>
            </a:p>
          </p:txBody>
        </p:sp>
        <p:sp>
          <p:nvSpPr>
            <p:cNvPr id="1071" name="Legend2">
              <a:extLst>
                <a:ext uri="{FF2B5EF4-FFF2-40B4-BE49-F238E27FC236}">
                  <a16:creationId xmlns:a16="http://schemas.microsoft.com/office/drawing/2014/main" id="{09A48560-B6C3-4177-A280-8BF2D01AD4E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04" y="344"/>
              <a:ext cx="327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buClr>
                  <a:schemeClr val="tx2"/>
                </a:buClr>
              </a:pPr>
              <a:r>
                <a:rPr lang="en-US" altLang="en-US" sz="1224"/>
                <a:t>Legend</a:t>
              </a:r>
            </a:p>
          </p:txBody>
        </p:sp>
        <p:sp>
          <p:nvSpPr>
            <p:cNvPr id="1072" name="Legend3">
              <a:extLst>
                <a:ext uri="{FF2B5EF4-FFF2-40B4-BE49-F238E27FC236}">
                  <a16:creationId xmlns:a16="http://schemas.microsoft.com/office/drawing/2014/main" id="{ACB142E1-5942-40F4-A79C-886165AD34A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04" y="520"/>
              <a:ext cx="327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buClr>
                  <a:schemeClr val="tx2"/>
                </a:buClr>
              </a:pPr>
              <a:r>
                <a:rPr lang="en-US" altLang="en-US" sz="1224"/>
                <a:t>Legend</a:t>
              </a:r>
            </a:p>
          </p:txBody>
        </p:sp>
      </p:grpSp>
      <p:grpSp>
        <p:nvGrpSpPr>
          <p:cNvPr id="1040" name="McKSticker" hidden="1">
            <a:extLst>
              <a:ext uri="{FF2B5EF4-FFF2-40B4-BE49-F238E27FC236}">
                <a16:creationId xmlns:a16="http://schemas.microsoft.com/office/drawing/2014/main" id="{5A83C841-BB50-42FA-8465-884A11F34C1A}"/>
              </a:ext>
            </a:extLst>
          </p:cNvPr>
          <p:cNvGrpSpPr>
            <a:grpSpLocks/>
          </p:cNvGrpSpPr>
          <p:nvPr/>
        </p:nvGrpSpPr>
        <p:grpSpPr bwMode="auto">
          <a:xfrm>
            <a:off x="11134653" y="275357"/>
            <a:ext cx="752829" cy="156360"/>
            <a:chOff x="8003434" y="285750"/>
            <a:chExt cx="737341" cy="153245"/>
          </a:xfrm>
        </p:grpSpPr>
        <p:sp>
          <p:nvSpPr>
            <p:cNvPr id="1064" name="StickerRectangle">
              <a:extLst>
                <a:ext uri="{FF2B5EF4-FFF2-40B4-BE49-F238E27FC236}">
                  <a16:creationId xmlns:a16="http://schemas.microsoft.com/office/drawing/2014/main" id="{6BE976E9-2C95-464A-8084-39E6FC5594E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003434" y="285750"/>
              <a:ext cx="737341" cy="15324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>
              <a:lvl1pPr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r" eaLnBrk="1" hangingPunct="1">
                <a:buClr>
                  <a:schemeClr val="tx2"/>
                </a:buClr>
              </a:pPr>
              <a:r>
                <a:rPr lang="en-US" altLang="en-US" sz="816">
                  <a:solidFill>
                    <a:srgbClr val="808080"/>
                  </a:solidFill>
                </a:rPr>
                <a:t>PRELIMINARY</a:t>
              </a:r>
            </a:p>
          </p:txBody>
        </p:sp>
        <p:cxnSp>
          <p:nvCxnSpPr>
            <p:cNvPr id="1065" name="AutoShape 31">
              <a:extLst>
                <a:ext uri="{FF2B5EF4-FFF2-40B4-BE49-F238E27FC236}">
                  <a16:creationId xmlns:a16="http://schemas.microsoft.com/office/drawing/2014/main" id="{B01E729F-2664-479D-868A-4F816AEBFC35}"/>
                </a:ext>
              </a:extLst>
            </p:cNvPr>
            <p:cNvCxnSpPr>
              <a:cxnSpLocks noChangeShapeType="1"/>
              <a:stCxn id="1064" idx="2"/>
              <a:endCxn id="1064" idx="4"/>
            </p:cNvCxnSpPr>
            <p:nvPr/>
          </p:nvCxnSpPr>
          <p:spPr bwMode="auto">
            <a:xfrm>
              <a:off x="8003434" y="285750"/>
              <a:ext cx="0" cy="153245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066" name="AutoShape 32">
              <a:extLst>
                <a:ext uri="{FF2B5EF4-FFF2-40B4-BE49-F238E27FC236}">
                  <a16:creationId xmlns:a16="http://schemas.microsoft.com/office/drawing/2014/main" id="{A95B6727-7725-4CB7-809B-DB4EA3534C1B}"/>
                </a:ext>
              </a:extLst>
            </p:cNvPr>
            <p:cNvCxnSpPr>
              <a:cxnSpLocks noChangeShapeType="1"/>
              <a:stCxn id="1064" idx="4"/>
              <a:endCxn id="1064" idx="6"/>
            </p:cNvCxnSpPr>
            <p:nvPr/>
          </p:nvCxnSpPr>
          <p:spPr bwMode="auto">
            <a:xfrm>
              <a:off x="8003434" y="438995"/>
              <a:ext cx="737341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1041" name="LegendMoons" hidden="1">
            <a:extLst>
              <a:ext uri="{FF2B5EF4-FFF2-40B4-BE49-F238E27FC236}">
                <a16:creationId xmlns:a16="http://schemas.microsoft.com/office/drawing/2014/main" id="{F277F140-59A7-40E9-BD04-590283796528}"/>
              </a:ext>
            </a:extLst>
          </p:cNvPr>
          <p:cNvGrpSpPr>
            <a:grpSpLocks/>
          </p:cNvGrpSpPr>
          <p:nvPr/>
        </p:nvGrpSpPr>
        <p:grpSpPr bwMode="auto">
          <a:xfrm>
            <a:off x="11040344" y="275357"/>
            <a:ext cx="857057" cy="1333051"/>
            <a:chOff x="6655594" y="273840"/>
            <a:chExt cx="840152" cy="1306516"/>
          </a:xfrm>
        </p:grpSpPr>
        <p:grpSp>
          <p:nvGrpSpPr>
            <p:cNvPr id="1044" name="MoonLegend1">
              <a:extLst>
                <a:ext uri="{FF2B5EF4-FFF2-40B4-BE49-F238E27FC236}">
                  <a16:creationId xmlns:a16="http://schemas.microsoft.com/office/drawing/2014/main" id="{E6CCBFF3-C08B-4D57-B73C-1839FE02D119}"/>
                </a:ext>
              </a:extLst>
            </p:cNvPr>
            <p:cNvGrpSpPr>
              <a:grpSpLocks noChangeAspect="1"/>
            </p:cNvGrpSpPr>
            <p:nvPr>
              <p:custDataLst>
                <p:tags r:id="rId15"/>
              </p:custDataLst>
            </p:nvPr>
          </p:nvGrpSpPr>
          <p:grpSpPr bwMode="auto">
            <a:xfrm>
              <a:off x="6655594" y="273840"/>
              <a:ext cx="209550" cy="209551"/>
              <a:chOff x="4533" y="183"/>
              <a:chExt cx="144" cy="144"/>
            </a:xfrm>
          </p:grpSpPr>
          <p:sp>
            <p:nvSpPr>
              <p:cNvPr id="106" name="Oval 38">
                <a:extLst>
                  <a:ext uri="{FF2B5EF4-FFF2-40B4-BE49-F238E27FC236}">
                    <a16:creationId xmlns:a16="http://schemas.microsoft.com/office/drawing/2014/main" id="{585020E3-F9B7-449A-8076-9B4FD5D4484B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28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 eaLnBrk="1" hangingPunct="1">
                  <a:defRPr/>
                </a:pPr>
                <a:endParaRPr lang="en-US" sz="1224">
                  <a:latin typeface="+mn-lt"/>
                </a:endParaRPr>
              </a:p>
            </p:txBody>
          </p:sp>
          <p:sp>
            <p:nvSpPr>
              <p:cNvPr id="107" name="Arc 39">
                <a:extLst>
                  <a:ext uri="{FF2B5EF4-FFF2-40B4-BE49-F238E27FC236}">
                    <a16:creationId xmlns:a16="http://schemas.microsoft.com/office/drawing/2014/main" id="{5FDAF459-C946-4AC9-BEC1-452D1E4A5560}"/>
                  </a:ext>
                </a:extLst>
              </p:cNvPr>
              <p:cNvSpPr>
                <a:spLocks noChangeAspect="1"/>
              </p:cNvSpPr>
              <p:nvPr>
                <p:custDataLst>
                  <p:tags r:id="rId29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 eaLnBrk="1" hangingPunct="1">
                  <a:defRPr/>
                </a:pPr>
                <a:endParaRPr lang="en-US" sz="1224">
                  <a:latin typeface="+mn-lt"/>
                </a:endParaRPr>
              </a:p>
            </p:txBody>
          </p:sp>
        </p:grpSp>
        <p:grpSp>
          <p:nvGrpSpPr>
            <p:cNvPr id="1045" name="MoonLegend2">
              <a:extLst>
                <a:ext uri="{FF2B5EF4-FFF2-40B4-BE49-F238E27FC236}">
                  <a16:creationId xmlns:a16="http://schemas.microsoft.com/office/drawing/2014/main" id="{FA0360D6-2696-4290-B634-74366B1CDB08}"/>
                </a:ext>
              </a:extLst>
            </p:cNvPr>
            <p:cNvGrpSpPr>
              <a:grpSpLocks noChangeAspect="1"/>
            </p:cNvGrpSpPr>
            <p:nvPr>
              <p:custDataLst>
                <p:tags r:id="rId16"/>
              </p:custDataLst>
            </p:nvPr>
          </p:nvGrpSpPr>
          <p:grpSpPr bwMode="auto">
            <a:xfrm>
              <a:off x="6655594" y="548081"/>
              <a:ext cx="209550" cy="209551"/>
              <a:chOff x="1694" y="2044"/>
              <a:chExt cx="160" cy="160"/>
            </a:xfrm>
          </p:grpSpPr>
          <p:sp>
            <p:nvSpPr>
              <p:cNvPr id="104" name="Oval 41">
                <a:extLst>
                  <a:ext uri="{FF2B5EF4-FFF2-40B4-BE49-F238E27FC236}">
                    <a16:creationId xmlns:a16="http://schemas.microsoft.com/office/drawing/2014/main" id="{8A2A3305-2385-4057-B894-6DADA1409C7E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26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 eaLnBrk="1" hangingPunct="1">
                  <a:defRPr/>
                </a:pPr>
                <a:endParaRPr lang="en-US" sz="1224">
                  <a:latin typeface="+mn-lt"/>
                </a:endParaRPr>
              </a:p>
            </p:txBody>
          </p:sp>
          <p:sp>
            <p:nvSpPr>
              <p:cNvPr id="105" name="Arc 42">
                <a:extLst>
                  <a:ext uri="{FF2B5EF4-FFF2-40B4-BE49-F238E27FC236}">
                    <a16:creationId xmlns:a16="http://schemas.microsoft.com/office/drawing/2014/main" id="{C5172C4B-9B61-4088-8C29-57D4D3BC1DAC}"/>
                  </a:ext>
                </a:extLst>
              </p:cNvPr>
              <p:cNvSpPr>
                <a:spLocks noChangeAspect="1"/>
              </p:cNvSpPr>
              <p:nvPr>
                <p:custDataLst>
                  <p:tags r:id="rId27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 eaLnBrk="1" hangingPunct="1">
                  <a:defRPr/>
                </a:pPr>
                <a:endParaRPr lang="en-US" sz="1224">
                  <a:latin typeface="+mn-lt"/>
                </a:endParaRPr>
              </a:p>
            </p:txBody>
          </p:sp>
        </p:grpSp>
        <p:grpSp>
          <p:nvGrpSpPr>
            <p:cNvPr id="1046" name="MoonLegend4">
              <a:extLst>
                <a:ext uri="{FF2B5EF4-FFF2-40B4-BE49-F238E27FC236}">
                  <a16:creationId xmlns:a16="http://schemas.microsoft.com/office/drawing/2014/main" id="{5B3DAF11-48C4-41C1-8753-CED505E6AF31}"/>
                </a:ext>
              </a:extLst>
            </p:cNvPr>
            <p:cNvGrpSpPr>
              <a:grpSpLocks noChangeAspect="1"/>
            </p:cNvGrpSpPr>
            <p:nvPr>
              <p:custDataLst>
                <p:tags r:id="rId17"/>
              </p:custDataLst>
            </p:nvPr>
          </p:nvGrpSpPr>
          <p:grpSpPr bwMode="auto">
            <a:xfrm>
              <a:off x="6655594" y="1096563"/>
              <a:ext cx="209550" cy="209551"/>
              <a:chOff x="4495" y="1198"/>
              <a:chExt cx="160" cy="160"/>
            </a:xfrm>
          </p:grpSpPr>
          <p:sp>
            <p:nvSpPr>
              <p:cNvPr id="102" name="Oval 47">
                <a:extLst>
                  <a:ext uri="{FF2B5EF4-FFF2-40B4-BE49-F238E27FC236}">
                    <a16:creationId xmlns:a16="http://schemas.microsoft.com/office/drawing/2014/main" id="{BF24D8BD-56B0-4EB4-B28C-5E5E9796AC9A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24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 eaLnBrk="1" hangingPunct="1">
                  <a:defRPr/>
                </a:pPr>
                <a:endParaRPr lang="en-US" sz="1224">
                  <a:latin typeface="+mn-lt"/>
                </a:endParaRPr>
              </a:p>
            </p:txBody>
          </p:sp>
          <p:sp>
            <p:nvSpPr>
              <p:cNvPr id="103" name="Arc 48">
                <a:extLst>
                  <a:ext uri="{FF2B5EF4-FFF2-40B4-BE49-F238E27FC236}">
                    <a16:creationId xmlns:a16="http://schemas.microsoft.com/office/drawing/2014/main" id="{7BB933CA-0FC2-4FC5-9097-66BB8E223FDD}"/>
                  </a:ext>
                </a:extLst>
              </p:cNvPr>
              <p:cNvSpPr>
                <a:spLocks noChangeAspect="1"/>
              </p:cNvSpPr>
              <p:nvPr>
                <p:custDataLst>
                  <p:tags r:id="rId25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 eaLnBrk="1" hangingPunct="1">
                  <a:defRPr/>
                </a:pPr>
                <a:endParaRPr lang="en-US" sz="1224">
                  <a:latin typeface="+mn-lt"/>
                </a:endParaRPr>
              </a:p>
            </p:txBody>
          </p:sp>
        </p:grpSp>
        <p:grpSp>
          <p:nvGrpSpPr>
            <p:cNvPr id="1047" name="MoonLegend5">
              <a:extLst>
                <a:ext uri="{FF2B5EF4-FFF2-40B4-BE49-F238E27FC236}">
                  <a16:creationId xmlns:a16="http://schemas.microsoft.com/office/drawing/2014/main" id="{BB8E65B9-D3F0-40B3-8043-4463AC79C68D}"/>
                </a:ext>
              </a:extLst>
            </p:cNvPr>
            <p:cNvGrpSpPr>
              <a:grpSpLocks noChangeAspect="1"/>
            </p:cNvGrpSpPr>
            <p:nvPr>
              <p:custDataLst>
                <p:tags r:id="rId18"/>
              </p:custDataLst>
            </p:nvPr>
          </p:nvGrpSpPr>
          <p:grpSpPr bwMode="auto">
            <a:xfrm>
              <a:off x="6655594" y="1370805"/>
              <a:ext cx="209550" cy="209551"/>
              <a:chOff x="4495" y="1440"/>
              <a:chExt cx="160" cy="160"/>
            </a:xfrm>
          </p:grpSpPr>
          <p:sp>
            <p:nvSpPr>
              <p:cNvPr id="100" name="Oval 50">
                <a:extLst>
                  <a:ext uri="{FF2B5EF4-FFF2-40B4-BE49-F238E27FC236}">
                    <a16:creationId xmlns:a16="http://schemas.microsoft.com/office/drawing/2014/main" id="{7E1A63C3-27A3-4F2B-BCAE-0A6A998D31B6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 eaLnBrk="1" hangingPunct="1">
                  <a:defRPr/>
                </a:pPr>
                <a:endParaRPr lang="en-US" sz="1224">
                  <a:latin typeface="+mn-lt"/>
                </a:endParaRPr>
              </a:p>
            </p:txBody>
          </p:sp>
          <p:sp>
            <p:nvSpPr>
              <p:cNvPr id="101" name="Oval 51">
                <a:extLst>
                  <a:ext uri="{FF2B5EF4-FFF2-40B4-BE49-F238E27FC236}">
                    <a16:creationId xmlns:a16="http://schemas.microsoft.com/office/drawing/2014/main" id="{55782377-B10E-42A3-928A-551FA28B23B8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23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 eaLnBrk="1" hangingPunct="1">
                  <a:defRPr/>
                </a:pPr>
                <a:endParaRPr lang="en-US" sz="1224">
                  <a:latin typeface="+mn-lt"/>
                </a:endParaRPr>
              </a:p>
            </p:txBody>
          </p:sp>
        </p:grpSp>
        <p:sp>
          <p:nvSpPr>
            <p:cNvPr id="1048" name="Legend1">
              <a:extLst>
                <a:ext uri="{FF2B5EF4-FFF2-40B4-BE49-F238E27FC236}">
                  <a16:creationId xmlns:a16="http://schemas.microsoft.com/office/drawing/2014/main" id="{34067F7D-2FA5-430C-8BFA-B352FD6C2DF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76269" y="286540"/>
              <a:ext cx="519477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buClr>
                  <a:schemeClr val="tx2"/>
                </a:buClr>
              </a:pPr>
              <a:r>
                <a:rPr lang="en-US" altLang="en-US" sz="1224"/>
                <a:t>Legend</a:t>
              </a:r>
            </a:p>
          </p:txBody>
        </p:sp>
        <p:sp>
          <p:nvSpPr>
            <p:cNvPr id="1049" name="Legend2">
              <a:extLst>
                <a:ext uri="{FF2B5EF4-FFF2-40B4-BE49-F238E27FC236}">
                  <a16:creationId xmlns:a16="http://schemas.microsoft.com/office/drawing/2014/main" id="{91263A63-37B2-45DA-8622-CA111EA49F7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76269" y="561178"/>
              <a:ext cx="519477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buClr>
                  <a:schemeClr val="tx2"/>
                </a:buClr>
              </a:pPr>
              <a:r>
                <a:rPr lang="en-US" altLang="en-US" sz="1224"/>
                <a:t>Legend</a:t>
              </a:r>
            </a:p>
          </p:txBody>
        </p:sp>
        <p:sp>
          <p:nvSpPr>
            <p:cNvPr id="1050" name="Legend3">
              <a:extLst>
                <a:ext uri="{FF2B5EF4-FFF2-40B4-BE49-F238E27FC236}">
                  <a16:creationId xmlns:a16="http://schemas.microsoft.com/office/drawing/2014/main" id="{E666264D-3341-4857-91CC-86491F83E91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76269" y="835817"/>
              <a:ext cx="519477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buClr>
                  <a:schemeClr val="tx2"/>
                </a:buClr>
              </a:pPr>
              <a:r>
                <a:rPr lang="en-US" altLang="en-US" sz="1224"/>
                <a:t>Legend</a:t>
              </a:r>
            </a:p>
          </p:txBody>
        </p:sp>
        <p:sp>
          <p:nvSpPr>
            <p:cNvPr id="1051" name="Legend4">
              <a:extLst>
                <a:ext uri="{FF2B5EF4-FFF2-40B4-BE49-F238E27FC236}">
                  <a16:creationId xmlns:a16="http://schemas.microsoft.com/office/drawing/2014/main" id="{A89CA3F9-AA0E-46D5-B39D-95AFDA49AB4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76269" y="1107280"/>
              <a:ext cx="519477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buClr>
                  <a:schemeClr val="tx2"/>
                </a:buClr>
              </a:pPr>
              <a:r>
                <a:rPr lang="en-US" altLang="en-US" sz="1224"/>
                <a:t>Legend</a:t>
              </a:r>
            </a:p>
          </p:txBody>
        </p:sp>
        <p:sp>
          <p:nvSpPr>
            <p:cNvPr id="1052" name="Legend5">
              <a:extLst>
                <a:ext uri="{FF2B5EF4-FFF2-40B4-BE49-F238E27FC236}">
                  <a16:creationId xmlns:a16="http://schemas.microsoft.com/office/drawing/2014/main" id="{59442534-1210-455A-B53F-30D7F26EB0C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76269" y="1383505"/>
              <a:ext cx="519477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buClr>
                  <a:schemeClr val="tx2"/>
                </a:buClr>
              </a:pPr>
              <a:r>
                <a:rPr lang="en-US" altLang="en-US" sz="1224"/>
                <a:t>Legend</a:t>
              </a:r>
            </a:p>
          </p:txBody>
        </p:sp>
        <p:grpSp>
          <p:nvGrpSpPr>
            <p:cNvPr id="1053" name="MoonLegend3">
              <a:extLst>
                <a:ext uri="{FF2B5EF4-FFF2-40B4-BE49-F238E27FC236}">
                  <a16:creationId xmlns:a16="http://schemas.microsoft.com/office/drawing/2014/main" id="{DFDF1779-7804-43AE-A0DA-9FE4A514D86B}"/>
                </a:ext>
              </a:extLst>
            </p:cNvPr>
            <p:cNvGrpSpPr>
              <a:grpSpLocks noChangeAspect="1"/>
            </p:cNvGrpSpPr>
            <p:nvPr>
              <p:custDataLst>
                <p:tags r:id="rId19"/>
              </p:custDataLst>
            </p:nvPr>
          </p:nvGrpSpPr>
          <p:grpSpPr bwMode="auto">
            <a:xfrm>
              <a:off x="6655594" y="822322"/>
              <a:ext cx="209550" cy="209551"/>
              <a:chOff x="4495" y="1198"/>
              <a:chExt cx="160" cy="160"/>
            </a:xfrm>
          </p:grpSpPr>
          <p:sp>
            <p:nvSpPr>
              <p:cNvPr id="98" name="Oval 47">
                <a:extLst>
                  <a:ext uri="{FF2B5EF4-FFF2-40B4-BE49-F238E27FC236}">
                    <a16:creationId xmlns:a16="http://schemas.microsoft.com/office/drawing/2014/main" id="{CDE09CEB-601D-4AD7-9C8D-C23C69DEB83F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4495" y="1197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 eaLnBrk="1" hangingPunct="1">
                  <a:defRPr/>
                </a:pPr>
                <a:endParaRPr lang="en-US" sz="1224">
                  <a:latin typeface="+mn-lt"/>
                </a:endParaRPr>
              </a:p>
            </p:txBody>
          </p:sp>
          <p:sp>
            <p:nvSpPr>
              <p:cNvPr id="99" name="Arc 48">
                <a:extLst>
                  <a:ext uri="{FF2B5EF4-FFF2-40B4-BE49-F238E27FC236}">
                    <a16:creationId xmlns:a16="http://schemas.microsoft.com/office/drawing/2014/main" id="{833C89E0-B0F6-45A7-8150-9FCDC848EF26}"/>
                  </a:ext>
                </a:extLst>
              </p:cNvPr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4495" y="1197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 eaLnBrk="1" hangingPunct="1">
                  <a:defRPr/>
                </a:pPr>
                <a:endParaRPr lang="en-US" sz="1224">
                  <a:latin typeface="+mn-lt"/>
                </a:endParaRPr>
              </a:p>
            </p:txBody>
          </p:sp>
        </p:grpSp>
      </p:grpSp>
      <p:sp>
        <p:nvSpPr>
          <p:cNvPr id="61" name="doc id">
            <a:extLst>
              <a:ext uri="{FF2B5EF4-FFF2-40B4-BE49-F238E27FC236}">
                <a16:creationId xmlns:a16="http://schemas.microsoft.com/office/drawing/2014/main" id="{C3B8E163-6953-4D40-B73B-4504BD7146FF}"/>
              </a:ext>
            </a:extLst>
          </p:cNvPr>
          <p:cNvSpPr txBox="1">
            <a:spLocks noChangeArrowheads="1"/>
          </p:cNvSpPr>
          <p:nvPr/>
        </p:nvSpPr>
        <p:spPr bwMode="white">
          <a:xfrm>
            <a:off x="11487400" y="37255"/>
            <a:ext cx="401703" cy="124720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 lIns="0" tIns="0" rIns="0" bIns="0"/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 lang="x-none"/>
            </a:pPr>
            <a:endParaRPr sz="816">
              <a:solidFill>
                <a:schemeClr val="accent6"/>
              </a:solidFill>
              <a:latin typeface="+mn-lt"/>
            </a:endParaRPr>
          </a:p>
        </p:txBody>
      </p:sp>
      <p:pic>
        <p:nvPicPr>
          <p:cNvPr id="1043" name="Picture 606" descr="Image result for al futtaim logo">
            <a:extLst>
              <a:ext uri="{FF2B5EF4-FFF2-40B4-BE49-F238E27FC236}">
                <a16:creationId xmlns:a16="http://schemas.microsoft.com/office/drawing/2014/main" id="{E33057FF-F14D-4DDD-89BB-DCD4697AC12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2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33014" y="6634475"/>
            <a:ext cx="719177" cy="14901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EEE1AE5E-DF85-C41F-884C-800B1A378B87}"/>
              </a:ext>
            </a:extLst>
          </p:cNvPr>
          <p:cNvSpPr txBox="1"/>
          <p:nvPr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5124450" y="6642100"/>
            <a:ext cx="1971675" cy="15240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n-US" sz="1000">
                <a:solidFill>
                  <a:srgbClr val="000000">
                    <a:alpha val="50000"/>
                  </a:srgb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Restricted : General Al-Futtaim Group</a:t>
            </a:r>
          </a:p>
        </p:txBody>
      </p:sp>
    </p:spTree>
    <p:extLst>
      <p:ext uri="{BB962C8B-B14F-4D97-AF65-F5344CB8AC3E}">
        <p14:creationId xmlns:p14="http://schemas.microsoft.com/office/powerpoint/2010/main" val="68732832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4" r:id="rId1"/>
    <p:sldLayoutId id="2147483685" r:id="rId2"/>
    <p:sldLayoutId id="2147483686" r:id="rId3"/>
    <p:sldLayoutId id="2147483687" r:id="rId4"/>
    <p:sldLayoutId id="2147483689" r:id="rId5"/>
    <p:sldLayoutId id="2147483690" r:id="rId6"/>
    <p:sldLayoutId id="2147483691" r:id="rId7"/>
    <p:sldLayoutId id="2147483692" r:id="rId8"/>
    <p:sldLayoutId id="2147483693" r:id="rId9"/>
    <p:sldLayoutId id="2147483694" r:id="rId10"/>
    <p:sldLayoutId id="2147483695" r:id="rId11"/>
  </p:sldLayoutIdLst>
  <p:hf hdr="0" ftr="0" dt="0"/>
  <p:txStyles>
    <p:titleStyle>
      <a:lvl1pPr algn="l" defTabSz="913526" rtl="0" eaLnBrk="1" fontAlgn="base" hangingPunct="1">
        <a:spcBef>
          <a:spcPct val="0"/>
        </a:spcBef>
        <a:spcAft>
          <a:spcPct val="0"/>
        </a:spcAft>
        <a:tabLst>
          <a:tab pos="275353" algn="l"/>
        </a:tabLst>
        <a:defRPr lang="x-none" sz="2041">
          <a:solidFill>
            <a:schemeClr val="tx2"/>
          </a:solidFill>
          <a:latin typeface="+mj-lt"/>
          <a:ea typeface="+mj-ea"/>
          <a:cs typeface="+mj-cs"/>
        </a:defRPr>
      </a:lvl1pPr>
      <a:lvl2pPr algn="l" defTabSz="913526" rtl="0" eaLnBrk="1" fontAlgn="base" hangingPunct="1">
        <a:spcBef>
          <a:spcPct val="0"/>
        </a:spcBef>
        <a:spcAft>
          <a:spcPct val="0"/>
        </a:spcAft>
        <a:tabLst>
          <a:tab pos="275353" algn="l"/>
        </a:tabLst>
        <a:defRPr lang="x-none" sz="2041">
          <a:solidFill>
            <a:schemeClr val="tx2"/>
          </a:solidFill>
          <a:latin typeface="Arial" charset="0"/>
        </a:defRPr>
      </a:lvl2pPr>
      <a:lvl3pPr algn="l" defTabSz="913526" rtl="0" eaLnBrk="1" fontAlgn="base" hangingPunct="1">
        <a:spcBef>
          <a:spcPct val="0"/>
        </a:spcBef>
        <a:spcAft>
          <a:spcPct val="0"/>
        </a:spcAft>
        <a:tabLst>
          <a:tab pos="275353" algn="l"/>
        </a:tabLst>
        <a:defRPr lang="x-none" sz="2041">
          <a:solidFill>
            <a:schemeClr val="tx2"/>
          </a:solidFill>
          <a:latin typeface="Arial" charset="0"/>
        </a:defRPr>
      </a:lvl3pPr>
      <a:lvl4pPr algn="l" defTabSz="913526" rtl="0" eaLnBrk="1" fontAlgn="base" hangingPunct="1">
        <a:spcBef>
          <a:spcPct val="0"/>
        </a:spcBef>
        <a:spcAft>
          <a:spcPct val="0"/>
        </a:spcAft>
        <a:tabLst>
          <a:tab pos="275353" algn="l"/>
        </a:tabLst>
        <a:defRPr lang="x-none" sz="2041">
          <a:solidFill>
            <a:schemeClr val="tx2"/>
          </a:solidFill>
          <a:latin typeface="Arial" charset="0"/>
        </a:defRPr>
      </a:lvl4pPr>
      <a:lvl5pPr algn="l" defTabSz="913526" rtl="0" eaLnBrk="1" fontAlgn="base" hangingPunct="1">
        <a:spcBef>
          <a:spcPct val="0"/>
        </a:spcBef>
        <a:spcAft>
          <a:spcPct val="0"/>
        </a:spcAft>
        <a:tabLst>
          <a:tab pos="275353" algn="l"/>
        </a:tabLst>
        <a:defRPr lang="x-none" sz="2041">
          <a:solidFill>
            <a:schemeClr val="tx2"/>
          </a:solidFill>
          <a:latin typeface="Arial" charset="0"/>
        </a:defRPr>
      </a:lvl5pPr>
      <a:lvl6pPr marL="466481" algn="l" defTabSz="913526" rtl="0" eaLnBrk="1" fontAlgn="base" hangingPunct="1">
        <a:spcBef>
          <a:spcPct val="0"/>
        </a:spcBef>
        <a:spcAft>
          <a:spcPct val="0"/>
        </a:spcAft>
        <a:defRPr lang="x-none" sz="1939" b="1">
          <a:solidFill>
            <a:schemeClr val="tx2"/>
          </a:solidFill>
          <a:latin typeface="Arial" charset="0"/>
        </a:defRPr>
      </a:lvl6pPr>
      <a:lvl7pPr marL="932962" algn="l" defTabSz="913526" rtl="0" eaLnBrk="1" fontAlgn="base" hangingPunct="1">
        <a:spcBef>
          <a:spcPct val="0"/>
        </a:spcBef>
        <a:spcAft>
          <a:spcPct val="0"/>
        </a:spcAft>
        <a:defRPr lang="x-none" sz="1939" b="1">
          <a:solidFill>
            <a:schemeClr val="tx2"/>
          </a:solidFill>
          <a:latin typeface="Arial" charset="0"/>
        </a:defRPr>
      </a:lvl7pPr>
      <a:lvl8pPr marL="1399443" algn="l" defTabSz="913526" rtl="0" eaLnBrk="1" fontAlgn="base" hangingPunct="1">
        <a:spcBef>
          <a:spcPct val="0"/>
        </a:spcBef>
        <a:spcAft>
          <a:spcPct val="0"/>
        </a:spcAft>
        <a:defRPr lang="x-none" sz="1939" b="1">
          <a:solidFill>
            <a:schemeClr val="tx2"/>
          </a:solidFill>
          <a:latin typeface="Arial" charset="0"/>
        </a:defRPr>
      </a:lvl8pPr>
      <a:lvl9pPr marL="1865925" algn="l" defTabSz="913526" rtl="0" eaLnBrk="1" fontAlgn="base" hangingPunct="1">
        <a:spcBef>
          <a:spcPct val="0"/>
        </a:spcBef>
        <a:spcAft>
          <a:spcPct val="0"/>
        </a:spcAft>
        <a:defRPr lang="x-none" sz="1939" b="1">
          <a:solidFill>
            <a:schemeClr val="tx2"/>
          </a:solidFill>
          <a:latin typeface="Arial" charset="0"/>
        </a:defRPr>
      </a:lvl9pPr>
    </p:titleStyle>
    <p:bodyStyle>
      <a:lvl1pPr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x-none" sz="1632">
          <a:solidFill>
            <a:schemeClr val="tx1"/>
          </a:solidFill>
          <a:latin typeface="+mn-lt"/>
          <a:ea typeface="+mn-ea"/>
          <a:cs typeface="+mn-cs"/>
        </a:defRPr>
      </a:lvl1pPr>
      <a:lvl2pPr marL="197607" indent="-195987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panose="020B0604020202020204" pitchFamily="34" charset="0"/>
        <a:buChar char="▪"/>
        <a:defRPr lang="x-none" sz="1632">
          <a:solidFill>
            <a:schemeClr val="tx1"/>
          </a:solidFill>
          <a:latin typeface="+mn-lt"/>
        </a:defRPr>
      </a:lvl2pPr>
      <a:lvl3pPr marL="466481" indent="-267255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panose="020B0604020202020204" pitchFamily="34" charset="0"/>
        <a:buChar char="–"/>
        <a:defRPr lang="x-none" sz="1632">
          <a:solidFill>
            <a:schemeClr val="tx1"/>
          </a:solidFill>
          <a:latin typeface="+mn-lt"/>
        </a:defRPr>
      </a:lvl3pPr>
      <a:lvl4pPr marL="626835" indent="-158733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panose="020B0604020202020204" pitchFamily="34" charset="0"/>
        <a:buChar char="▫"/>
        <a:defRPr lang="x-none" sz="1632">
          <a:solidFill>
            <a:schemeClr val="tx1"/>
          </a:solidFill>
          <a:latin typeface="+mn-lt"/>
        </a:defRPr>
      </a:lvl4pPr>
      <a:lvl5pPr marL="764511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anose="020B0604020202020204" pitchFamily="34" charset="0"/>
        <a:buChar char="-"/>
        <a:defRPr lang="x-none" sz="1632">
          <a:solidFill>
            <a:schemeClr val="tx1"/>
          </a:solidFill>
          <a:latin typeface="+mn-lt"/>
        </a:defRPr>
      </a:lvl5pPr>
      <a:lvl6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32" baseline="0">
          <a:solidFill>
            <a:schemeClr val="tx1"/>
          </a:solidFill>
          <a:latin typeface="+mn-lt"/>
        </a:defRPr>
      </a:lvl6pPr>
      <a:lvl7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32" baseline="0">
          <a:solidFill>
            <a:schemeClr val="tx1"/>
          </a:solidFill>
          <a:latin typeface="+mn-lt"/>
        </a:defRPr>
      </a:lvl7pPr>
      <a:lvl8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32" baseline="0">
          <a:solidFill>
            <a:schemeClr val="tx1"/>
          </a:solidFill>
          <a:latin typeface="+mn-lt"/>
        </a:defRPr>
      </a:lvl8pPr>
      <a:lvl9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32" baseline="0">
          <a:solidFill>
            <a:schemeClr val="tx1"/>
          </a:solidFill>
          <a:latin typeface="+mn-lt"/>
        </a:defRPr>
      </a:lvl9pPr>
    </p:bodyStyle>
    <p:otherStyle>
      <a:defPPr>
        <a:defRPr lang="x-none"/>
      </a:defPPr>
      <a:lvl1pPr marL="0" algn="l" defTabSz="932962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1pPr>
      <a:lvl2pPr marL="466481" algn="l" defTabSz="932962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2pPr>
      <a:lvl3pPr marL="932962" algn="l" defTabSz="932962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3pPr>
      <a:lvl4pPr marL="1399443" algn="l" defTabSz="932962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4pPr>
      <a:lvl5pPr marL="1865925" algn="l" defTabSz="932962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5pPr>
      <a:lvl6pPr marL="2332406" algn="l" defTabSz="932962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6pPr>
      <a:lvl7pPr marL="2798887" algn="l" defTabSz="932962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7pPr>
      <a:lvl8pPr marL="3265368" algn="l" defTabSz="932962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8pPr>
      <a:lvl9pPr marL="3731849" algn="l" defTabSz="932962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35.xml"/><Relationship Id="rId1" Type="http://schemas.openxmlformats.org/officeDocument/2006/relationships/tags" Target="../tags/tag37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35.xml"/><Relationship Id="rId1" Type="http://schemas.openxmlformats.org/officeDocument/2006/relationships/tags" Target="../tags/tag38.xml"/><Relationship Id="rId4" Type="http://schemas.openxmlformats.org/officeDocument/2006/relationships/image" Target="../media/image29.jpe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2" Type="http://schemas.openxmlformats.org/officeDocument/2006/relationships/slideLayout" Target="../slideLayouts/slideLayout35.xml"/><Relationship Id="rId1" Type="http://schemas.openxmlformats.org/officeDocument/2006/relationships/tags" Target="../tags/tag39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30.xml"/><Relationship Id="rId4" Type="http://schemas.openxmlformats.org/officeDocument/2006/relationships/image" Target="../media/image1.emf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9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13" Type="http://schemas.openxmlformats.org/officeDocument/2006/relationships/image" Target="../media/image21.svg"/><Relationship Id="rId3" Type="http://schemas.openxmlformats.org/officeDocument/2006/relationships/oleObject" Target="../embeddings/oleObject8.bin"/><Relationship Id="rId7" Type="http://schemas.openxmlformats.org/officeDocument/2006/relationships/image" Target="../media/image15.svg"/><Relationship Id="rId12" Type="http://schemas.openxmlformats.org/officeDocument/2006/relationships/image" Target="../media/image20.png"/><Relationship Id="rId17" Type="http://schemas.openxmlformats.org/officeDocument/2006/relationships/image" Target="../media/image25.svg"/><Relationship Id="rId2" Type="http://schemas.openxmlformats.org/officeDocument/2006/relationships/slideLayout" Target="../slideLayouts/slideLayout10.xml"/><Relationship Id="rId16" Type="http://schemas.openxmlformats.org/officeDocument/2006/relationships/image" Target="../media/image24.png"/><Relationship Id="rId1" Type="http://schemas.openxmlformats.org/officeDocument/2006/relationships/tags" Target="../tags/tag31.xml"/><Relationship Id="rId6" Type="http://schemas.openxmlformats.org/officeDocument/2006/relationships/image" Target="../media/image14.png"/><Relationship Id="rId11" Type="http://schemas.openxmlformats.org/officeDocument/2006/relationships/image" Target="../media/image19.svg"/><Relationship Id="rId5" Type="http://schemas.openxmlformats.org/officeDocument/2006/relationships/image" Target="../media/image13.png"/><Relationship Id="rId15" Type="http://schemas.openxmlformats.org/officeDocument/2006/relationships/image" Target="../media/image23.svg"/><Relationship Id="rId10" Type="http://schemas.openxmlformats.org/officeDocument/2006/relationships/image" Target="../media/image18.png"/><Relationship Id="rId4" Type="http://schemas.openxmlformats.org/officeDocument/2006/relationships/image" Target="../media/image1.emf"/><Relationship Id="rId9" Type="http://schemas.openxmlformats.org/officeDocument/2006/relationships/image" Target="../media/image17.svg"/><Relationship Id="rId14" Type="http://schemas.openxmlformats.org/officeDocument/2006/relationships/image" Target="../media/image22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35.xml"/><Relationship Id="rId1" Type="http://schemas.openxmlformats.org/officeDocument/2006/relationships/tags" Target="../tags/tag32.xml"/><Relationship Id="rId5" Type="http://schemas.openxmlformats.org/officeDocument/2006/relationships/image" Target="../media/image27.svg"/><Relationship Id="rId4" Type="http://schemas.openxmlformats.org/officeDocument/2006/relationships/image" Target="../media/image26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35.xml"/><Relationship Id="rId1" Type="http://schemas.openxmlformats.org/officeDocument/2006/relationships/tags" Target="../tags/tag33.xml"/><Relationship Id="rId4" Type="http://schemas.openxmlformats.org/officeDocument/2006/relationships/image" Target="../media/image28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35.xml"/><Relationship Id="rId1" Type="http://schemas.openxmlformats.org/officeDocument/2006/relationships/tags" Target="../tags/tag34.xml"/><Relationship Id="rId4" Type="http://schemas.openxmlformats.org/officeDocument/2006/relationships/image" Target="../media/image28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35.xml"/><Relationship Id="rId1" Type="http://schemas.openxmlformats.org/officeDocument/2006/relationships/tags" Target="../tags/tag35.xml"/><Relationship Id="rId4" Type="http://schemas.openxmlformats.org/officeDocument/2006/relationships/image" Target="../media/image28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35.xml"/><Relationship Id="rId1" Type="http://schemas.openxmlformats.org/officeDocument/2006/relationships/tags" Target="../tags/tag36.xml"/><Relationship Id="rId4" Type="http://schemas.openxmlformats.org/officeDocument/2006/relationships/image" Target="../media/image28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D3097811-FFDF-0D94-F3F2-C77967D53A3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39748" y="1875367"/>
            <a:ext cx="11112502" cy="1821921"/>
          </a:xfrm>
        </p:spPr>
        <p:txBody>
          <a:bodyPr/>
          <a:lstStyle/>
          <a:p>
            <a:r>
              <a:rPr lang="en-US" dirty="0"/>
              <a:t>Sales Accreditation Summary Modules 3 &amp; 4</a:t>
            </a:r>
          </a:p>
        </p:txBody>
      </p:sp>
      <p:sp>
        <p:nvSpPr>
          <p:cNvPr id="6" name="Subtitle 5">
            <a:extLst>
              <a:ext uri="{FF2B5EF4-FFF2-40B4-BE49-F238E27FC236}">
                <a16:creationId xmlns:a16="http://schemas.microsoft.com/office/drawing/2014/main" id="{FFA44459-555F-305E-0924-F838831F6E9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39748" y="3970338"/>
            <a:ext cx="11112502" cy="942022"/>
          </a:xfrm>
        </p:spPr>
        <p:txBody>
          <a:bodyPr/>
          <a:lstStyle/>
          <a:p>
            <a:r>
              <a:rPr lang="en-US" dirty="0"/>
              <a:t>Al-Futtaim Automotive Talent Centr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98B54786-585B-286D-FDA5-658A362E343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39749" y="5858230"/>
            <a:ext cx="5556251" cy="184666"/>
          </a:xfrm>
        </p:spPr>
        <p:txBody>
          <a:bodyPr/>
          <a:lstStyle/>
          <a:p>
            <a:r>
              <a:rPr lang="en-US" dirty="0"/>
              <a:t>Date 21/08/2025</a:t>
            </a:r>
          </a:p>
        </p:txBody>
      </p:sp>
    </p:spTree>
    <p:extLst>
      <p:ext uri="{BB962C8B-B14F-4D97-AF65-F5344CB8AC3E}">
        <p14:creationId xmlns:p14="http://schemas.microsoft.com/office/powerpoint/2010/main" val="19870918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2E8D064-9C4D-67AF-BBA5-570C474B6E8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>
            <a:extLst>
              <a:ext uri="{FF2B5EF4-FFF2-40B4-BE49-F238E27FC236}">
                <a16:creationId xmlns:a16="http://schemas.microsoft.com/office/drawing/2014/main" id="{B1430CE3-6ED5-E7F1-44E2-E1A079855EE6}"/>
              </a:ext>
            </a:extLst>
          </p:cNvPr>
          <p:cNvSpPr txBox="1">
            <a:spLocks/>
          </p:cNvSpPr>
          <p:nvPr/>
        </p:nvSpPr>
        <p:spPr bwMode="gray">
          <a:xfrm>
            <a:off x="526944" y="316696"/>
            <a:ext cx="10888346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2pPr>
            <a:lvl3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3pPr>
            <a:lvl4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4pPr>
            <a:lvl5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5pPr>
            <a:lvl6pPr marL="4572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6pPr>
            <a:lvl7pPr marL="9144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7pPr>
            <a:lvl8pPr marL="13716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8pPr>
            <a:lvl9pPr marL="18288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marL="0" marR="0" lvl="0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275353" algn="l"/>
              </a:tabLst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5BAA"/>
                </a:solidFill>
                <a:effectLst/>
                <a:uLnTx/>
                <a:uFillTx/>
                <a:latin typeface="Arial (Headings)"/>
                <a:ea typeface="+mj-ea"/>
                <a:cs typeface="+mj-cs"/>
              </a:rPr>
              <a:t>OBJECTION HANDLING TECHNIQUE</a:t>
            </a:r>
          </a:p>
        </p:txBody>
      </p:sp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19A52B4F-772E-2C7A-B9AC-AD10ADF11451}"/>
              </a:ext>
            </a:extLst>
          </p:cNvPr>
          <p:cNvGraphicFramePr>
            <a:graphicFrameLocks noGrp="1"/>
          </p:cNvGraphicFramePr>
          <p:nvPr/>
        </p:nvGraphicFramePr>
        <p:xfrm>
          <a:off x="1079749" y="1183340"/>
          <a:ext cx="9782736" cy="5113392"/>
        </p:xfrm>
        <a:graphic>
          <a:graphicData uri="http://schemas.openxmlformats.org/drawingml/2006/table">
            <a:tbl>
              <a:tblPr/>
              <a:tblGrid>
                <a:gridCol w="2445684">
                  <a:extLst>
                    <a:ext uri="{9D8B030D-6E8A-4147-A177-3AD203B41FA5}">
                      <a16:colId xmlns:a16="http://schemas.microsoft.com/office/drawing/2014/main" val="759458637"/>
                    </a:ext>
                  </a:extLst>
                </a:gridCol>
                <a:gridCol w="2445684">
                  <a:extLst>
                    <a:ext uri="{9D8B030D-6E8A-4147-A177-3AD203B41FA5}">
                      <a16:colId xmlns:a16="http://schemas.microsoft.com/office/drawing/2014/main" val="275218877"/>
                    </a:ext>
                  </a:extLst>
                </a:gridCol>
                <a:gridCol w="2445684">
                  <a:extLst>
                    <a:ext uri="{9D8B030D-6E8A-4147-A177-3AD203B41FA5}">
                      <a16:colId xmlns:a16="http://schemas.microsoft.com/office/drawing/2014/main" val="2484024995"/>
                    </a:ext>
                  </a:extLst>
                </a:gridCol>
                <a:gridCol w="2445684">
                  <a:extLst>
                    <a:ext uri="{9D8B030D-6E8A-4147-A177-3AD203B41FA5}">
                      <a16:colId xmlns:a16="http://schemas.microsoft.com/office/drawing/2014/main" val="4044015713"/>
                    </a:ext>
                  </a:extLst>
                </a:gridCol>
              </a:tblGrid>
              <a:tr h="219056">
                <a:tc>
                  <a:txBody>
                    <a:bodyPr/>
                    <a:lstStyle/>
                    <a:p>
                      <a:pPr algn="l" fontAlgn="t"/>
                      <a:r>
                        <a:rPr lang="en-US" sz="1600" b="1" dirty="0">
                          <a:effectLst/>
                        </a:rPr>
                        <a:t>Step</a:t>
                      </a:r>
                      <a:endParaRPr lang="en-US" sz="1600" b="0" dirty="0">
                        <a:effectLst/>
                      </a:endParaRPr>
                    </a:p>
                  </a:txBody>
                  <a:tcPr marL="114300" marR="76200" marT="76200" marB="66675">
                    <a:lnL w="9525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600" b="1">
                          <a:effectLst/>
                        </a:rPr>
                        <a:t>Description</a:t>
                      </a:r>
                      <a:endParaRPr lang="en-US" sz="1600" b="0">
                        <a:effectLst/>
                      </a:endParaRPr>
                    </a:p>
                  </a:txBody>
                  <a:tcPr marL="114300" marR="76200" marT="76200" marB="66675">
                    <a:lnL w="9525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600" b="1">
                          <a:effectLst/>
                        </a:rPr>
                        <a:t>Purpose</a:t>
                      </a:r>
                      <a:endParaRPr lang="en-US" sz="1600" b="0">
                        <a:effectLst/>
                      </a:endParaRPr>
                    </a:p>
                  </a:txBody>
                  <a:tcPr marL="114300" marR="76200" marT="76200" marB="66675">
                    <a:lnL w="9525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600" b="1">
                          <a:effectLst/>
                        </a:rPr>
                        <a:t>Example</a:t>
                      </a:r>
                      <a:endParaRPr lang="en-US" sz="1600" b="0">
                        <a:effectLst/>
                      </a:endParaRPr>
                    </a:p>
                  </a:txBody>
                  <a:tcPr marL="114300" marR="76200" marT="76200" marB="66675">
                    <a:lnL w="9525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74382553"/>
                  </a:ext>
                </a:extLst>
              </a:tr>
              <a:tr h="1380458">
                <a:tc>
                  <a:txBody>
                    <a:bodyPr/>
                    <a:lstStyle/>
                    <a:p>
                      <a:pPr algn="l" fontAlgn="t"/>
                      <a:r>
                        <a:rPr lang="en-US" sz="1600" b="1" dirty="0">
                          <a:effectLst/>
                        </a:rPr>
                        <a:t>Acknowledge</a:t>
                      </a:r>
                      <a:endParaRPr lang="en-US" sz="1600" dirty="0">
                        <a:effectLst/>
                      </a:endParaRPr>
                    </a:p>
                  </a:txBody>
                  <a:tcPr marL="114300" marR="76200" marT="76200" marB="66675">
                    <a:lnL w="9525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FAF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600" dirty="0">
                          <a:effectLst/>
                        </a:rPr>
                        <a:t>Recognize the objection without arguing or dismissing it.</a:t>
                      </a:r>
                    </a:p>
                  </a:txBody>
                  <a:tcPr marL="114300" marR="76200" marT="76200" marB="66675">
                    <a:lnL w="9525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FAF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600" dirty="0">
                          <a:effectLst/>
                        </a:rPr>
                        <a:t>Builds trust and shows empathy.</a:t>
                      </a:r>
                    </a:p>
                  </a:txBody>
                  <a:tcPr marL="114300" marR="76200" marT="76200" marB="66675">
                    <a:lnL w="9525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FAF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600">
                          <a:effectLst/>
                        </a:rPr>
                        <a:t>“I understand why that might be a concern.”</a:t>
                      </a:r>
                    </a:p>
                  </a:txBody>
                  <a:tcPr marL="114300" marR="76200" marT="76200" marB="66675">
                    <a:lnL w="9525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FAF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25229553"/>
                  </a:ext>
                </a:extLst>
              </a:tr>
              <a:tr h="1023103">
                <a:tc>
                  <a:txBody>
                    <a:bodyPr/>
                    <a:lstStyle/>
                    <a:p>
                      <a:pPr algn="l" fontAlgn="t"/>
                      <a:r>
                        <a:rPr lang="en-US" sz="1600" b="1">
                          <a:effectLst/>
                        </a:rPr>
                        <a:t>Probe</a:t>
                      </a:r>
                      <a:endParaRPr lang="en-US" sz="1600">
                        <a:effectLst/>
                      </a:endParaRPr>
                    </a:p>
                  </a:txBody>
                  <a:tcPr marL="114300" marR="76200" marT="76200" marB="66675">
                    <a:lnL w="9525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600">
                          <a:effectLst/>
                        </a:rPr>
                        <a:t>Ask clarifying questions to uncover the root cause of the objection.</a:t>
                      </a:r>
                    </a:p>
                  </a:txBody>
                  <a:tcPr marL="114300" marR="76200" marT="76200" marB="66675">
                    <a:lnL w="9525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600" dirty="0">
                          <a:effectLst/>
                        </a:rPr>
                        <a:t>Helps you understand the real issue behind the objection.</a:t>
                      </a:r>
                    </a:p>
                  </a:txBody>
                  <a:tcPr marL="114300" marR="76200" marT="76200" marB="66675">
                    <a:lnL w="9525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600" dirty="0">
                          <a:effectLst/>
                        </a:rPr>
                        <a:t>“Can you tell me more about what specifically worries you about the cost?”</a:t>
                      </a:r>
                    </a:p>
                  </a:txBody>
                  <a:tcPr marL="114300" marR="76200" marT="76200" marB="66675">
                    <a:lnL w="9525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27424712"/>
                  </a:ext>
                </a:extLst>
              </a:tr>
              <a:tr h="933764">
                <a:tc>
                  <a:txBody>
                    <a:bodyPr/>
                    <a:lstStyle/>
                    <a:p>
                      <a:pPr algn="l" fontAlgn="t"/>
                      <a:r>
                        <a:rPr lang="en-US" sz="1600" b="1">
                          <a:effectLst/>
                        </a:rPr>
                        <a:t>Answer</a:t>
                      </a:r>
                      <a:endParaRPr lang="en-US" sz="1600">
                        <a:effectLst/>
                      </a:endParaRPr>
                    </a:p>
                  </a:txBody>
                  <a:tcPr marL="114300" marR="76200" marT="76200" marB="66675">
                    <a:lnL w="9525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FAF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600">
                          <a:effectLst/>
                        </a:rPr>
                        <a:t>Address the objection with relevant facts, benefits, or solutions.</a:t>
                      </a:r>
                    </a:p>
                  </a:txBody>
                  <a:tcPr marL="114300" marR="76200" marT="76200" marB="66675">
                    <a:lnL w="9525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FAF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600">
                          <a:effectLst/>
                        </a:rPr>
                        <a:t>Resolves the concern with tailored information.</a:t>
                      </a:r>
                    </a:p>
                  </a:txBody>
                  <a:tcPr marL="114300" marR="76200" marT="76200" marB="66675">
                    <a:lnL w="9525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FAF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600" dirty="0">
                          <a:effectLst/>
                        </a:rPr>
                        <a:t>“Actually, the total cost includes post-sale support and free upgrades for 2 years.”</a:t>
                      </a:r>
                    </a:p>
                  </a:txBody>
                  <a:tcPr marL="114300" marR="76200" marT="76200" marB="66675">
                    <a:lnL w="9525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FAF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50876188"/>
                  </a:ext>
                </a:extLst>
              </a:tr>
              <a:tr h="1109749">
                <a:tc>
                  <a:txBody>
                    <a:bodyPr/>
                    <a:lstStyle/>
                    <a:p>
                      <a:pPr algn="l" fontAlgn="t"/>
                      <a:r>
                        <a:rPr lang="en-US" sz="1600" b="1">
                          <a:effectLst/>
                        </a:rPr>
                        <a:t>Confirm</a:t>
                      </a:r>
                      <a:endParaRPr lang="en-US" sz="1600">
                        <a:effectLst/>
                      </a:endParaRPr>
                    </a:p>
                  </a:txBody>
                  <a:tcPr marL="114300" marR="76200" marT="76200" marB="57150">
                    <a:lnL w="9525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600">
                          <a:effectLst/>
                        </a:rPr>
                        <a:t>Check if the objection has been resolved and move forward.</a:t>
                      </a:r>
                    </a:p>
                  </a:txBody>
                  <a:tcPr marL="114300" marR="76200" marT="76200" marB="57150">
                    <a:lnL w="9525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600">
                          <a:effectLst/>
                        </a:rPr>
                        <a:t>Ensures alignment and readiness to proceed.</a:t>
                      </a:r>
                    </a:p>
                  </a:txBody>
                  <a:tcPr marL="114300" marR="76200" marT="76200" marB="57150">
                    <a:lnL w="9525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600" dirty="0">
                          <a:effectLst/>
                        </a:rPr>
                        <a:t>“Does that address your concern? Can we move to the next step?”</a:t>
                      </a:r>
                    </a:p>
                  </a:txBody>
                  <a:tcPr marL="114300" marR="76200" marT="76200" marB="57150">
                    <a:lnL w="9525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44079532"/>
                  </a:ext>
                </a:extLst>
              </a:tr>
            </a:tbl>
          </a:graphicData>
        </a:graphic>
      </p:graphicFrame>
      <p:sp>
        <p:nvSpPr>
          <p:cNvPr id="7" name="Title 1">
            <a:extLst>
              <a:ext uri="{FF2B5EF4-FFF2-40B4-BE49-F238E27FC236}">
                <a16:creationId xmlns:a16="http://schemas.microsoft.com/office/drawing/2014/main" id="{0B1CBDDD-46B7-15FD-BBA4-D7DF9B50273B}"/>
              </a:ext>
            </a:extLst>
          </p:cNvPr>
          <p:cNvSpPr txBox="1">
            <a:spLocks/>
          </p:cNvSpPr>
          <p:nvPr/>
        </p:nvSpPr>
        <p:spPr bwMode="gray">
          <a:xfrm>
            <a:off x="526944" y="835188"/>
            <a:ext cx="10782032" cy="57195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2pPr>
            <a:lvl3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3pPr>
            <a:lvl4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4pPr>
            <a:lvl5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5pPr>
            <a:lvl6pPr marL="4572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6pPr>
            <a:lvl7pPr marL="9144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7pPr>
            <a:lvl8pPr marL="13716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8pPr>
            <a:lvl9pPr marL="18288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algn="l">
              <a:lnSpc>
                <a:spcPts val="2100"/>
              </a:lnSpc>
              <a:spcBef>
                <a:spcPts val="975"/>
              </a:spcBef>
              <a:spcAft>
                <a:spcPts val="225"/>
              </a:spcAft>
            </a:pPr>
            <a:r>
              <a:rPr lang="en-US" sz="1600" b="1" i="0" dirty="0">
                <a:effectLst/>
                <a:latin typeface="Segoe Sans"/>
              </a:rPr>
              <a:t>APAC Objection Handling Framework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005BAA"/>
              </a:solidFill>
              <a:effectLst/>
              <a:uLnTx/>
              <a:uFillTx/>
              <a:latin typeface="Arial (Headings)"/>
              <a:ea typeface="+mj-ea"/>
              <a:cs typeface="Calibri"/>
            </a:endParaRPr>
          </a:p>
          <a:p>
            <a:pPr marL="0" marR="0" lvl="0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275353" algn="l"/>
              </a:tabLst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005BAA"/>
              </a:solidFill>
              <a:effectLst/>
              <a:uLnTx/>
              <a:uFillTx/>
              <a:latin typeface="Arial (Headings)"/>
              <a:ea typeface="+mj-ea"/>
              <a:cs typeface="Calibri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43125293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4D3D793-C939-7B51-355D-E31BD0BECB1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1E9EFF62-F742-4B5B-B5DC-025A14176CA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9750" y="540001"/>
            <a:ext cx="5465999" cy="387798"/>
          </a:xfrm>
        </p:spPr>
        <p:txBody>
          <a:bodyPr/>
          <a:lstStyle/>
          <a:p>
            <a:r>
              <a:rPr lang="en-US" dirty="0"/>
              <a:t>Negotiation &amp; Closing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3CE6137-710F-F1BA-DB91-34D058B6ADA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421533" y="6462506"/>
            <a:ext cx="230714" cy="123111"/>
          </a:xfrm>
        </p:spPr>
        <p:txBody>
          <a:bodyPr/>
          <a:lstStyle/>
          <a:p>
            <a:fld id="{83109594-1B45-46DB-8A0B-416F125317DC}" type="slidenum">
              <a:rPr lang="en-US" smtClean="0"/>
              <a:pPr/>
              <a:t>11</a:t>
            </a:fld>
            <a:endParaRPr lang="en-US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42CE96CB-690B-288B-5F21-FF2BE20CA4E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39751" y="927799"/>
            <a:ext cx="5465688" cy="388937"/>
          </a:xfrm>
        </p:spPr>
        <p:txBody>
          <a:bodyPr/>
          <a:lstStyle/>
          <a:p>
            <a:r>
              <a:rPr lang="en-US" dirty="0"/>
              <a:t>Seek a WIN-WIN!</a:t>
            </a:r>
          </a:p>
        </p:txBody>
      </p:sp>
      <p:cxnSp>
        <p:nvCxnSpPr>
          <p:cNvPr id="2" name="Straight Arrow Connector 1">
            <a:extLst>
              <a:ext uri="{FF2B5EF4-FFF2-40B4-BE49-F238E27FC236}">
                <a16:creationId xmlns:a16="http://schemas.microsoft.com/office/drawing/2014/main" id="{19D567A0-58C8-B5F2-BF14-17F7FB58B161}"/>
              </a:ext>
            </a:extLst>
          </p:cNvPr>
          <p:cNvCxnSpPr>
            <a:cxnSpLocks/>
          </p:cNvCxnSpPr>
          <p:nvPr/>
        </p:nvCxnSpPr>
        <p:spPr>
          <a:xfrm>
            <a:off x="2754089" y="6063885"/>
            <a:ext cx="7200800" cy="0"/>
          </a:xfrm>
          <a:prstGeom prst="straightConnector1">
            <a:avLst/>
          </a:prstGeom>
          <a:ln>
            <a:solidFill>
              <a:schemeClr val="accent3">
                <a:lumMod val="60000"/>
                <a:lumOff val="40000"/>
              </a:schemeClr>
            </a:solidFill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9" name="Straight Arrow Connector 8">
            <a:extLst>
              <a:ext uri="{FF2B5EF4-FFF2-40B4-BE49-F238E27FC236}">
                <a16:creationId xmlns:a16="http://schemas.microsoft.com/office/drawing/2014/main" id="{4C2BCB5C-133A-2469-6911-16000CB7B8EF}"/>
              </a:ext>
            </a:extLst>
          </p:cNvPr>
          <p:cNvCxnSpPr>
            <a:cxnSpLocks/>
          </p:cNvCxnSpPr>
          <p:nvPr/>
        </p:nvCxnSpPr>
        <p:spPr>
          <a:xfrm flipH="1" flipV="1">
            <a:off x="2754089" y="1743405"/>
            <a:ext cx="11832" cy="4320480"/>
          </a:xfrm>
          <a:prstGeom prst="straightConnector1">
            <a:avLst/>
          </a:prstGeom>
          <a:ln>
            <a:solidFill>
              <a:schemeClr val="accent3">
                <a:lumMod val="60000"/>
                <a:lumOff val="40000"/>
              </a:schemeClr>
            </a:solidFill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10" name="Rectangle 9">
            <a:extLst>
              <a:ext uri="{FF2B5EF4-FFF2-40B4-BE49-F238E27FC236}">
                <a16:creationId xmlns:a16="http://schemas.microsoft.com/office/drawing/2014/main" id="{A8CDED81-79ED-DEAF-6A3E-BA00E01082BA}"/>
              </a:ext>
            </a:extLst>
          </p:cNvPr>
          <p:cNvSpPr/>
          <p:nvPr/>
        </p:nvSpPr>
        <p:spPr>
          <a:xfrm>
            <a:off x="2826097" y="3975653"/>
            <a:ext cx="3492388" cy="2016224"/>
          </a:xfrm>
          <a:prstGeom prst="rect">
            <a:avLst/>
          </a:prstGeom>
          <a:solidFill>
            <a:schemeClr val="bg1"/>
          </a:solidFill>
          <a:ln>
            <a:solidFill>
              <a:schemeClr val="tx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1" i="0" u="none" strike="noStrike" kern="1200" cap="none" spc="0" normalizeH="0" baseline="0" noProof="0">
                <a:ln>
                  <a:noFill/>
                </a:ln>
                <a:solidFill>
                  <a:schemeClr val="accent3"/>
                </a:solidFill>
                <a:effectLst/>
                <a:uLnTx/>
                <a:uFillTx/>
                <a:latin typeface="Arial MT"/>
              </a:rPr>
              <a:t>LOSE / LOSE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210C1D48-1769-FF9C-EB17-13C6B8DE4411}"/>
              </a:ext>
            </a:extLst>
          </p:cNvPr>
          <p:cNvSpPr/>
          <p:nvPr/>
        </p:nvSpPr>
        <p:spPr>
          <a:xfrm>
            <a:off x="6351114" y="3973662"/>
            <a:ext cx="3492388" cy="2016224"/>
          </a:xfrm>
          <a:prstGeom prst="rect">
            <a:avLst/>
          </a:prstGeom>
          <a:solidFill>
            <a:schemeClr val="bg1"/>
          </a:solidFill>
          <a:ln>
            <a:solidFill>
              <a:schemeClr val="tx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1" i="0" u="none" strike="noStrike" kern="1200" cap="none" spc="0" normalizeH="0" baseline="0" noProof="0">
                <a:ln>
                  <a:noFill/>
                </a:ln>
                <a:solidFill>
                  <a:schemeClr val="accent3"/>
                </a:solidFill>
                <a:effectLst/>
                <a:uLnTx/>
                <a:uFillTx/>
                <a:latin typeface="Arial MT"/>
              </a:rPr>
              <a:t>LOSE / WIN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3DC4B6FE-E046-B9E0-C80B-268E078BADBB}"/>
              </a:ext>
            </a:extLst>
          </p:cNvPr>
          <p:cNvSpPr/>
          <p:nvPr/>
        </p:nvSpPr>
        <p:spPr>
          <a:xfrm>
            <a:off x="2826097" y="1922430"/>
            <a:ext cx="3492388" cy="2016224"/>
          </a:xfrm>
          <a:prstGeom prst="rect">
            <a:avLst/>
          </a:prstGeom>
          <a:solidFill>
            <a:schemeClr val="bg1"/>
          </a:solidFill>
          <a:ln>
            <a:solidFill>
              <a:schemeClr val="tx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1" i="0" u="none" strike="noStrike" kern="1200" cap="none" spc="0" normalizeH="0" baseline="0" noProof="0">
                <a:ln>
                  <a:noFill/>
                </a:ln>
                <a:solidFill>
                  <a:schemeClr val="accent3"/>
                </a:solidFill>
                <a:effectLst/>
                <a:uLnTx/>
                <a:uFillTx/>
                <a:latin typeface="Arial MT"/>
              </a:rPr>
              <a:t>WIN / LOSE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1A0434C9-2D37-8468-B87A-B264EE2D8D1E}"/>
              </a:ext>
            </a:extLst>
          </p:cNvPr>
          <p:cNvSpPr/>
          <p:nvPr/>
        </p:nvSpPr>
        <p:spPr>
          <a:xfrm>
            <a:off x="6360405" y="1920439"/>
            <a:ext cx="3492388" cy="2016224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chemeClr val="tx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1" i="0" u="none" strike="noStrike" kern="1200" cap="none" spc="0" normalizeH="0" baseline="0" noProof="0">
                <a:ln>
                  <a:noFill/>
                </a:ln>
                <a:solidFill>
                  <a:schemeClr val="accent3"/>
                </a:solidFill>
                <a:effectLst/>
                <a:uLnTx/>
                <a:uFillTx/>
                <a:latin typeface="Arial MT"/>
              </a:rPr>
              <a:t>WIN / WIN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F5703698-0FE8-EE48-1BAD-4B7D48EEFFBA}"/>
              </a:ext>
            </a:extLst>
          </p:cNvPr>
          <p:cNvSpPr txBox="1"/>
          <p:nvPr/>
        </p:nvSpPr>
        <p:spPr>
          <a:xfrm>
            <a:off x="2106017" y="6031619"/>
            <a:ext cx="72008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 MT"/>
              </a:rPr>
              <a:t>LOW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9F029866-B5D6-303F-62F5-4183DCAB312B}"/>
              </a:ext>
            </a:extLst>
          </p:cNvPr>
          <p:cNvSpPr txBox="1"/>
          <p:nvPr/>
        </p:nvSpPr>
        <p:spPr>
          <a:xfrm>
            <a:off x="9843502" y="6216285"/>
            <a:ext cx="79495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 MT"/>
              </a:rPr>
              <a:t>HIGH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83F42EEA-63A7-67B0-6E2C-4E3E30C36812}"/>
              </a:ext>
            </a:extLst>
          </p:cNvPr>
          <p:cNvSpPr txBox="1"/>
          <p:nvPr/>
        </p:nvSpPr>
        <p:spPr>
          <a:xfrm>
            <a:off x="1887126" y="1735773"/>
            <a:ext cx="79495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 MT"/>
              </a:rPr>
              <a:t>HIGH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B71DD7EC-7AC1-FC73-7B4E-9ABB2134E0F9}"/>
              </a:ext>
            </a:extLst>
          </p:cNvPr>
          <p:cNvSpPr txBox="1"/>
          <p:nvPr/>
        </p:nvSpPr>
        <p:spPr>
          <a:xfrm>
            <a:off x="5778425" y="6179114"/>
            <a:ext cx="273630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 MT"/>
              </a:rPr>
              <a:t>Courage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F07A2C28-90E7-FA37-FA02-24C69489CD93}"/>
              </a:ext>
            </a:extLst>
          </p:cNvPr>
          <p:cNvSpPr txBox="1"/>
          <p:nvPr/>
        </p:nvSpPr>
        <p:spPr>
          <a:xfrm rot="5400000">
            <a:off x="1489353" y="3891617"/>
            <a:ext cx="20162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 MT"/>
              </a:rPr>
              <a:t>Consideration</a:t>
            </a:r>
          </a:p>
        </p:txBody>
      </p:sp>
    </p:spTree>
    <p:extLst>
      <p:ext uri="{BB962C8B-B14F-4D97-AF65-F5344CB8AC3E}">
        <p14:creationId xmlns:p14="http://schemas.microsoft.com/office/powerpoint/2010/main" val="77272283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animBg="1"/>
      <p:bldP spid="11" grpId="0" animBg="1"/>
      <p:bldP spid="12" grpId="0" animBg="1"/>
      <p:bldP spid="13" grpId="0" animBg="1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F5B7B9B-A0B8-21F5-D1DE-C2D1C72CEEC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egotiation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56A296F-52EC-E4CB-FE0C-47033ABCD0B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3109594-1B45-46DB-8A0B-416F125317DC}" type="slidenum">
              <a:rPr lang="en-US" smtClean="0"/>
              <a:pPr/>
              <a:t>12</a:t>
            </a:fld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0AE7C05-B1B1-F5F3-529B-E5DD1D3399C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What can I trade?</a:t>
            </a: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6EB370CB-0451-0A59-128A-9027D2DEE875}"/>
              </a:ext>
            </a:extLst>
          </p:cNvPr>
          <p:cNvSpPr txBox="1">
            <a:spLocks/>
          </p:cNvSpPr>
          <p:nvPr/>
        </p:nvSpPr>
        <p:spPr>
          <a:xfrm>
            <a:off x="6354821" y="927798"/>
            <a:ext cx="5376306" cy="38893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Symbol" panose="05050102010706020507" pitchFamily="18" charset="2"/>
              <a:buNone/>
              <a:defRPr sz="28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825750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2600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What should I do?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579F83CA-6185-9AE5-40DB-66CC16287EC5}"/>
              </a:ext>
            </a:extLst>
          </p:cNvPr>
          <p:cNvSpPr txBox="1"/>
          <p:nvPr/>
        </p:nvSpPr>
        <p:spPr>
          <a:xfrm>
            <a:off x="738829" y="1436783"/>
            <a:ext cx="4978150" cy="563231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marR="0" lvl="0" indent="-342900" algn="l" defTabSz="914400" rtl="0" eaLnBrk="1" fontAlgn="auto" latinLnBrk="0" hangingPunct="1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b="0" i="0" u="none" strike="noStrike" kern="1200" cap="none" spc="0" normalizeH="0" baseline="0" noProof="0" dirty="0">
                <a:ln>
                  <a:noFill/>
                </a:ln>
                <a:solidFill>
                  <a:schemeClr val="accent3"/>
                </a:solidFill>
                <a:effectLst/>
                <a:uLnTx/>
                <a:uFillTx/>
                <a:latin typeface="Arial MT"/>
              </a:rPr>
              <a:t>Vehicle Options/ Grade</a:t>
            </a:r>
          </a:p>
          <a:p>
            <a:pPr marL="342900" marR="0" lvl="0" indent="-342900" algn="l" defTabSz="914400" rtl="0" eaLnBrk="1" fontAlgn="auto" latinLnBrk="0" hangingPunct="1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b="0" i="0" u="none" strike="noStrike" kern="1200" cap="none" spc="0" normalizeH="0" baseline="0" noProof="0" dirty="0">
                <a:ln>
                  <a:noFill/>
                </a:ln>
                <a:solidFill>
                  <a:schemeClr val="accent3"/>
                </a:solidFill>
                <a:effectLst/>
                <a:uLnTx/>
                <a:uFillTx/>
                <a:latin typeface="Arial MT"/>
              </a:rPr>
              <a:t>Service Plans</a:t>
            </a:r>
          </a:p>
          <a:p>
            <a:pPr marL="342900" marR="0" lvl="0" indent="-342900" algn="l" defTabSz="914400" rtl="0" eaLnBrk="1" fontAlgn="auto" latinLnBrk="0" hangingPunct="1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b="0" i="0" u="none" strike="noStrike" kern="1200" cap="none" spc="0" normalizeH="0" baseline="0" noProof="0" dirty="0">
                <a:ln>
                  <a:noFill/>
                </a:ln>
                <a:solidFill>
                  <a:schemeClr val="accent3"/>
                </a:solidFill>
                <a:effectLst/>
                <a:uLnTx/>
                <a:uFillTx/>
                <a:latin typeface="Arial MT"/>
              </a:rPr>
              <a:t>Referrals / Loyalty</a:t>
            </a:r>
          </a:p>
          <a:p>
            <a:pPr marL="342900" marR="0" lvl="0" indent="-342900" algn="l" defTabSz="914400" rtl="0" eaLnBrk="1" fontAlgn="auto" latinLnBrk="0" hangingPunct="1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GB" dirty="0">
                <a:solidFill>
                  <a:schemeClr val="accent3"/>
                </a:solidFill>
                <a:latin typeface="Arial MT"/>
              </a:rPr>
              <a:t>Re-sale value</a:t>
            </a:r>
            <a:r>
              <a:rPr kumimoji="0" lang="en-GB" b="0" i="0" u="none" strike="noStrike" kern="1200" cap="none" spc="0" normalizeH="0" baseline="0" noProof="0" dirty="0">
                <a:ln>
                  <a:noFill/>
                </a:ln>
                <a:solidFill>
                  <a:schemeClr val="accent3"/>
                </a:solidFill>
                <a:effectLst/>
                <a:uLnTx/>
                <a:uFillTx/>
                <a:latin typeface="Arial MT"/>
              </a:rPr>
              <a:t>*</a:t>
            </a:r>
          </a:p>
          <a:p>
            <a:pPr marL="342900" marR="0" lvl="0" indent="-342900" algn="l" defTabSz="914400" rtl="0" eaLnBrk="1" fontAlgn="auto" latinLnBrk="0" hangingPunct="1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b="0" i="0" u="none" strike="noStrike" kern="1200" cap="none" spc="0" normalizeH="0" baseline="0" noProof="0" dirty="0">
                <a:ln>
                  <a:noFill/>
                </a:ln>
                <a:solidFill>
                  <a:schemeClr val="accent3"/>
                </a:solidFill>
                <a:effectLst/>
                <a:uLnTx/>
                <a:uFillTx/>
                <a:latin typeface="Arial MT"/>
              </a:rPr>
              <a:t>Accessories</a:t>
            </a:r>
          </a:p>
          <a:p>
            <a:pPr marL="342900" marR="0" lvl="0" indent="-342900" algn="l" defTabSz="914400" rtl="0" eaLnBrk="1" fontAlgn="auto" latinLnBrk="0" hangingPunct="1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b="0" i="0" u="none" strike="noStrike" kern="1200" cap="none" spc="0" normalizeH="0" baseline="0" noProof="0" dirty="0">
                <a:ln>
                  <a:noFill/>
                </a:ln>
                <a:solidFill>
                  <a:schemeClr val="accent3"/>
                </a:solidFill>
                <a:effectLst/>
                <a:uLnTx/>
                <a:uFillTx/>
                <a:latin typeface="Arial MT"/>
              </a:rPr>
              <a:t>Extended Warranty</a:t>
            </a:r>
          </a:p>
          <a:p>
            <a:pPr marL="342900" marR="0" lvl="0" indent="-342900" algn="l" defTabSz="914400" rtl="0" eaLnBrk="1" fontAlgn="auto" latinLnBrk="0" hangingPunct="1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GB" dirty="0">
                <a:solidFill>
                  <a:schemeClr val="accent3"/>
                </a:solidFill>
                <a:latin typeface="Arial MT"/>
              </a:rPr>
              <a:t>Finance Options/ </a:t>
            </a:r>
            <a:r>
              <a:rPr kumimoji="0" lang="en-GB" b="0" i="0" u="none" strike="noStrike" kern="1200" cap="none" spc="0" normalizeH="0" baseline="0" noProof="0" dirty="0">
                <a:ln>
                  <a:noFill/>
                </a:ln>
                <a:solidFill>
                  <a:schemeClr val="accent3"/>
                </a:solidFill>
                <a:effectLst/>
                <a:uLnTx/>
                <a:uFillTx/>
                <a:latin typeface="Arial MT"/>
              </a:rPr>
              <a:t>Term / Drive on Lease</a:t>
            </a:r>
          </a:p>
          <a:p>
            <a:pPr marL="342900" marR="0" lvl="0" indent="-342900" algn="l" defTabSz="914400" rtl="0" eaLnBrk="1" fontAlgn="auto" latinLnBrk="0" hangingPunct="1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b="0" i="0" u="none" strike="noStrike" kern="1200" cap="none" spc="0" normalizeH="0" baseline="0" noProof="0" dirty="0">
                <a:ln>
                  <a:noFill/>
                </a:ln>
                <a:solidFill>
                  <a:schemeClr val="accent3"/>
                </a:solidFill>
                <a:effectLst/>
                <a:uLnTx/>
                <a:uFillTx/>
                <a:latin typeface="Arial MT"/>
              </a:rPr>
              <a:t>Event Tickets / VIP access</a:t>
            </a:r>
          </a:p>
          <a:p>
            <a:pPr marL="342900" marR="0" lvl="0" indent="-342900" algn="l" defTabSz="914400" rtl="0" eaLnBrk="1" fontAlgn="auto" latinLnBrk="0" hangingPunct="1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GB" dirty="0">
                <a:solidFill>
                  <a:schemeClr val="accent3"/>
                </a:solidFill>
                <a:latin typeface="Arial MT"/>
              </a:rPr>
              <a:t>FAB Credit Card / Blue Rewards</a:t>
            </a:r>
            <a:endParaRPr kumimoji="0" lang="en-GB" b="0" i="0" u="none" strike="noStrike" kern="1200" cap="none" spc="0" normalizeH="0" baseline="0" noProof="0" dirty="0">
              <a:ln>
                <a:noFill/>
              </a:ln>
              <a:solidFill>
                <a:schemeClr val="accent3"/>
              </a:solidFill>
              <a:effectLst/>
              <a:uLnTx/>
              <a:uFillTx/>
              <a:latin typeface="Arial MT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GB" b="0" i="0" u="none" strike="noStrike" kern="1200" cap="none" spc="0" normalizeH="0" baseline="0" noProof="0" dirty="0">
              <a:ln>
                <a:noFill/>
              </a:ln>
              <a:solidFill>
                <a:schemeClr val="accent3"/>
              </a:solidFill>
              <a:effectLst/>
              <a:uLnTx/>
              <a:uFillTx/>
              <a:latin typeface="Arial MT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GB" b="0" i="0" u="none" strike="noStrike" kern="1200" cap="none" spc="0" normalizeH="0" baseline="0" noProof="0" dirty="0">
              <a:ln>
                <a:noFill/>
              </a:ln>
              <a:solidFill>
                <a:schemeClr val="accent3"/>
              </a:solidFill>
              <a:effectLst/>
              <a:uLnTx/>
              <a:uFillTx/>
              <a:latin typeface="Arial MT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DE8B56CF-D88D-BF09-8DC6-0C3FCBB5EC6B}"/>
              </a:ext>
            </a:extLst>
          </p:cNvPr>
          <p:cNvSpPr txBox="1"/>
          <p:nvPr/>
        </p:nvSpPr>
        <p:spPr>
          <a:xfrm>
            <a:off x="6475023" y="1507304"/>
            <a:ext cx="5512104" cy="50783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en-GB" dirty="0">
                <a:solidFill>
                  <a:schemeClr val="bg1"/>
                </a:solidFill>
                <a:latin typeface="Arial MT"/>
              </a:rPr>
              <a:t>Be confident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GB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 MT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 MT"/>
              </a:rPr>
              <a:t>Have a negotiation strategy</a:t>
            </a:r>
          </a:p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kumimoji="0" lang="en-GB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 MT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 MT"/>
              </a:rPr>
              <a:t>Quote your price, then be quiet!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GB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 MT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 MT"/>
              </a:rPr>
              <a:t>Seek a </a:t>
            </a:r>
            <a:r>
              <a:rPr lang="en-GB" noProof="0" dirty="0">
                <a:solidFill>
                  <a:schemeClr val="bg1"/>
                </a:solidFill>
                <a:latin typeface="Arial MT"/>
              </a:rPr>
              <a:t>w</a:t>
            </a:r>
            <a:r>
              <a:rPr kumimoji="0" lang="en-GB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 MT"/>
              </a:rPr>
              <a:t>in/win outcome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GB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 MT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GB" dirty="0">
                <a:solidFill>
                  <a:schemeClr val="bg1"/>
                </a:solidFill>
                <a:latin typeface="Arial MT"/>
              </a:rPr>
              <a:t>Customer feels positive about the deal</a:t>
            </a:r>
            <a:endParaRPr kumimoji="0" lang="en-GB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 MT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GB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 MT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 MT"/>
              </a:rPr>
              <a:t>Value yourself, your time &amp; your product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GB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 MT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 MT"/>
              </a:rPr>
              <a:t>Negotiate at the right time &amp; place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GB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 MT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 MT"/>
              </a:rPr>
              <a:t>Only enter negotiation</a:t>
            </a:r>
            <a:r>
              <a:rPr lang="en-GB" dirty="0">
                <a:solidFill>
                  <a:schemeClr val="bg1"/>
                </a:solidFill>
                <a:latin typeface="Arial MT"/>
              </a:rPr>
              <a:t> after a positive trial close response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GB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 MT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GB" dirty="0">
                <a:solidFill>
                  <a:schemeClr val="bg1"/>
                </a:solidFill>
                <a:latin typeface="Arial MT"/>
              </a:rPr>
              <a:t>Answer questions promptly with confidence</a:t>
            </a:r>
            <a:endParaRPr kumimoji="0" lang="en-GB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 MT"/>
            </a:endParaRPr>
          </a:p>
        </p:txBody>
      </p:sp>
    </p:spTree>
    <p:extLst>
      <p:ext uri="{BB962C8B-B14F-4D97-AF65-F5344CB8AC3E}">
        <p14:creationId xmlns:p14="http://schemas.microsoft.com/office/powerpoint/2010/main" val="16685479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  <p:bldP spid="10" grpId="0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>
            <a:extLst>
              <a:ext uri="{FF2B5EF4-FFF2-40B4-BE49-F238E27FC236}">
                <a16:creationId xmlns:a16="http://schemas.microsoft.com/office/drawing/2014/main" id="{B1D54BC0-B1BD-4863-A9D4-24EEC2CDFEDC}"/>
              </a:ext>
            </a:extLst>
          </p:cNvPr>
          <p:cNvSpPr txBox="1">
            <a:spLocks/>
          </p:cNvSpPr>
          <p:nvPr/>
        </p:nvSpPr>
        <p:spPr bwMode="gray">
          <a:xfrm>
            <a:off x="526944" y="446725"/>
            <a:ext cx="10888346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2pPr>
            <a:lvl3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3pPr>
            <a:lvl4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4pPr>
            <a:lvl5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5pPr>
            <a:lvl6pPr marL="4572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6pPr>
            <a:lvl7pPr marL="9144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7pPr>
            <a:lvl8pPr marL="13716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8pPr>
            <a:lvl9pPr marL="18288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marL="0" marR="0" lvl="0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275353" algn="l"/>
              </a:tabLst>
              <a:defRPr/>
            </a:pPr>
            <a:r>
              <a:rPr lang="en-US" sz="1800" b="1" kern="0">
                <a:solidFill>
                  <a:srgbClr val="005BAA"/>
                </a:solidFill>
                <a:latin typeface="Arial (Headings)"/>
                <a:cs typeface="Calibri"/>
              </a:rPr>
              <a:t>FINAL CLOSE EXAMPLES</a:t>
            </a:r>
            <a:endParaRPr kumimoji="0" lang="en-US" sz="1800" b="1" i="0" u="none" strike="noStrike" kern="1200" cap="none" spc="0" normalizeH="0" baseline="0" noProof="0">
              <a:ln>
                <a:noFill/>
              </a:ln>
              <a:solidFill>
                <a:srgbClr val="005BAA"/>
              </a:solidFill>
              <a:effectLst/>
              <a:uLnTx/>
              <a:uFillTx/>
              <a:latin typeface="Arial (Headings)"/>
            </a:endParaRPr>
          </a:p>
        </p:txBody>
      </p:sp>
      <p:pic>
        <p:nvPicPr>
          <p:cNvPr id="4098" name="Picture 2" descr="84,976 Arab Businessman Images, Stock Photos, 3D objects, &amp; Vectors |  Shutterstock">
            <a:extLst>
              <a:ext uri="{FF2B5EF4-FFF2-40B4-BE49-F238E27FC236}">
                <a16:creationId xmlns:a16="http://schemas.microsoft.com/office/drawing/2014/main" id="{79A86D53-B2C7-1F7E-7AE0-F708869797BB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6031" r="18494"/>
          <a:stretch/>
        </p:blipFill>
        <p:spPr bwMode="auto">
          <a:xfrm>
            <a:off x="7469437" y="-12879"/>
            <a:ext cx="4722564" cy="69234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EED4D053-4405-5A71-79A9-C1B53CBA528F}"/>
              </a:ext>
            </a:extLst>
          </p:cNvPr>
          <p:cNvSpPr txBox="1"/>
          <p:nvPr/>
        </p:nvSpPr>
        <p:spPr>
          <a:xfrm>
            <a:off x="819024" y="1482261"/>
            <a:ext cx="5744074" cy="87203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  <a:defRPr/>
            </a:pPr>
            <a:r>
              <a:rPr lang="en-US">
                <a:solidFill>
                  <a:schemeClr val="accent3"/>
                </a:solidFill>
                <a:latin typeface="Arial MT"/>
              </a:rPr>
              <a:t>A direct question</a:t>
            </a:r>
          </a:p>
          <a:p>
            <a:pPr>
              <a:lnSpc>
                <a:spcPct val="150000"/>
              </a:lnSpc>
              <a:defRPr/>
            </a:pPr>
            <a:r>
              <a:rPr lang="en-US" b="1" i="1">
                <a:solidFill>
                  <a:schemeClr val="accent3"/>
                </a:solidFill>
                <a:latin typeface="Arial MT"/>
              </a:rPr>
              <a:t>“Are you happy to go ahead?”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25A08C38-32E2-8261-418A-C33DF25E857B}"/>
              </a:ext>
            </a:extLst>
          </p:cNvPr>
          <p:cNvSpPr txBox="1"/>
          <p:nvPr/>
        </p:nvSpPr>
        <p:spPr>
          <a:xfrm>
            <a:off x="819024" y="1183328"/>
            <a:ext cx="5744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n-GB" b="1" u="sng">
                <a:solidFill>
                  <a:schemeClr val="accent3"/>
                </a:solidFill>
                <a:latin typeface="Arial MT"/>
              </a:rPr>
              <a:t>Direct</a:t>
            </a:r>
            <a:r>
              <a:rPr lang="en-GB" b="1" u="sng" noProof="0">
                <a:solidFill>
                  <a:schemeClr val="accent3"/>
                </a:solidFill>
                <a:latin typeface="Arial MT"/>
              </a:rPr>
              <a:t> Close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806820C0-F5B4-8EFC-A4BD-C1D169BBB662}"/>
              </a:ext>
            </a:extLst>
          </p:cNvPr>
          <p:cNvSpPr txBox="1"/>
          <p:nvPr/>
        </p:nvSpPr>
        <p:spPr>
          <a:xfrm>
            <a:off x="819024" y="3127983"/>
            <a:ext cx="5744074" cy="87203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  <a:defRPr/>
            </a:pPr>
            <a:r>
              <a:rPr lang="en-US" dirty="0">
                <a:solidFill>
                  <a:schemeClr val="accent3"/>
                </a:solidFill>
                <a:latin typeface="Arial MT"/>
              </a:rPr>
              <a:t>Acting as though the deal is already done.</a:t>
            </a:r>
          </a:p>
          <a:p>
            <a:pPr>
              <a:lnSpc>
                <a:spcPct val="150000"/>
              </a:lnSpc>
              <a:defRPr/>
            </a:pPr>
            <a:r>
              <a:rPr lang="en-US" b="1" i="1" dirty="0">
                <a:solidFill>
                  <a:schemeClr val="accent3"/>
                </a:solidFill>
                <a:latin typeface="Arial MT"/>
              </a:rPr>
              <a:t>“So you’d like it in Mica Black then?”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7F434B4-65FB-4ECB-CD6E-B8C909DCA361}"/>
              </a:ext>
            </a:extLst>
          </p:cNvPr>
          <p:cNvSpPr txBox="1"/>
          <p:nvPr/>
        </p:nvSpPr>
        <p:spPr>
          <a:xfrm>
            <a:off x="819024" y="2829050"/>
            <a:ext cx="5744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n-GB" b="1" u="sng" noProof="0">
                <a:solidFill>
                  <a:schemeClr val="accent3"/>
                </a:solidFill>
                <a:latin typeface="Arial MT"/>
              </a:rPr>
              <a:t>Assumptive Close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1853B8B7-08D7-C9E3-2515-E3EFD34C1F8A}"/>
              </a:ext>
            </a:extLst>
          </p:cNvPr>
          <p:cNvSpPr txBox="1"/>
          <p:nvPr/>
        </p:nvSpPr>
        <p:spPr>
          <a:xfrm>
            <a:off x="819023" y="4773705"/>
            <a:ext cx="6436799" cy="87203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  <a:defRPr/>
            </a:pPr>
            <a:r>
              <a:rPr lang="en-US" dirty="0">
                <a:solidFill>
                  <a:schemeClr val="accent3"/>
                </a:solidFill>
                <a:latin typeface="Arial MT"/>
              </a:rPr>
              <a:t>Like the assumptive, but with a choice.</a:t>
            </a:r>
          </a:p>
          <a:p>
            <a:pPr>
              <a:lnSpc>
                <a:spcPct val="150000"/>
              </a:lnSpc>
              <a:defRPr/>
            </a:pPr>
            <a:r>
              <a:rPr lang="en-US" b="1" i="1" dirty="0">
                <a:solidFill>
                  <a:schemeClr val="accent3"/>
                </a:solidFill>
                <a:latin typeface="Arial MT"/>
              </a:rPr>
              <a:t>“Would you like to go for the VXR or GR-S grade?”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5AE3045D-BE41-1923-A13A-8A3CD03D06F8}"/>
              </a:ext>
            </a:extLst>
          </p:cNvPr>
          <p:cNvSpPr txBox="1"/>
          <p:nvPr/>
        </p:nvSpPr>
        <p:spPr>
          <a:xfrm>
            <a:off x="819024" y="4474772"/>
            <a:ext cx="5744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n-GB" b="1" u="sng" noProof="0">
                <a:solidFill>
                  <a:schemeClr val="accent3"/>
                </a:solidFill>
                <a:latin typeface="Arial MT"/>
              </a:rPr>
              <a:t>Alternative Clos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6263559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  <p:bldP spid="6" grpId="0"/>
      <p:bldP spid="8" grpId="0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>
            <a:extLst>
              <a:ext uri="{FF2B5EF4-FFF2-40B4-BE49-F238E27FC236}">
                <a16:creationId xmlns:a16="http://schemas.microsoft.com/office/drawing/2014/main" id="{B1D54BC0-B1BD-4863-A9D4-24EEC2CDFEDC}"/>
              </a:ext>
            </a:extLst>
          </p:cNvPr>
          <p:cNvSpPr txBox="1">
            <a:spLocks/>
          </p:cNvSpPr>
          <p:nvPr/>
        </p:nvSpPr>
        <p:spPr bwMode="gray">
          <a:xfrm>
            <a:off x="526944" y="446725"/>
            <a:ext cx="10888346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2pPr>
            <a:lvl3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3pPr>
            <a:lvl4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4pPr>
            <a:lvl5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5pPr>
            <a:lvl6pPr marL="4572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6pPr>
            <a:lvl7pPr marL="9144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7pPr>
            <a:lvl8pPr marL="13716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8pPr>
            <a:lvl9pPr marL="18288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marL="0" marR="0" lvl="0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275353" algn="l"/>
              </a:tabLst>
              <a:defRPr/>
            </a:pPr>
            <a:r>
              <a:rPr lang="en-US" sz="1800" b="1" kern="0" dirty="0">
                <a:solidFill>
                  <a:srgbClr val="005BAA"/>
                </a:solidFill>
                <a:latin typeface="Arial (Headings)"/>
                <a:cs typeface="Calibri"/>
              </a:rPr>
              <a:t>FINAL CLOSE EXAMPLES CONTINUED….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005BAA"/>
              </a:solidFill>
              <a:effectLst/>
              <a:uLnTx/>
              <a:uFillTx/>
              <a:latin typeface="Arial (Headings)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EED4D053-4405-5A71-79A9-C1B53CBA528F}"/>
              </a:ext>
            </a:extLst>
          </p:cNvPr>
          <p:cNvSpPr txBox="1"/>
          <p:nvPr/>
        </p:nvSpPr>
        <p:spPr>
          <a:xfrm>
            <a:off x="819024" y="1228380"/>
            <a:ext cx="10763376" cy="17030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  <a:defRPr/>
            </a:pPr>
            <a:r>
              <a:rPr lang="en-US" dirty="0" err="1">
                <a:solidFill>
                  <a:schemeClr val="accent3"/>
                </a:solidFill>
                <a:latin typeface="Arial MT"/>
              </a:rPr>
              <a:t>Summarise</a:t>
            </a:r>
            <a:r>
              <a:rPr lang="en-US" dirty="0">
                <a:solidFill>
                  <a:schemeClr val="accent3"/>
                </a:solidFill>
                <a:latin typeface="Arial MT"/>
              </a:rPr>
              <a:t> the value / benefits in sets of 3…</a:t>
            </a:r>
          </a:p>
          <a:p>
            <a:pPr>
              <a:lnSpc>
                <a:spcPct val="150000"/>
              </a:lnSpc>
              <a:defRPr/>
            </a:pPr>
            <a:r>
              <a:rPr lang="en-US" b="1" i="1" dirty="0">
                <a:solidFill>
                  <a:schemeClr val="accent3"/>
                </a:solidFill>
                <a:latin typeface="Arial MT"/>
              </a:rPr>
              <a:t>“I can get you the X model, </a:t>
            </a:r>
            <a:r>
              <a:rPr lang="en-US" b="1" i="1">
                <a:solidFill>
                  <a:schemeClr val="accent3"/>
                </a:solidFill>
                <a:latin typeface="Arial MT"/>
              </a:rPr>
              <a:t>with premium audio system, </a:t>
            </a:r>
            <a:r>
              <a:rPr lang="en-US" b="1" i="1" dirty="0">
                <a:solidFill>
                  <a:schemeClr val="accent3"/>
                </a:solidFill>
                <a:latin typeface="Arial MT"/>
              </a:rPr>
              <a:t>the 21” wheels and the Platinum paint for X-AED are you happy to go ahead?”</a:t>
            </a:r>
          </a:p>
          <a:p>
            <a:pPr>
              <a:lnSpc>
                <a:spcPct val="150000"/>
              </a:lnSpc>
              <a:defRPr/>
            </a:pPr>
            <a:endParaRPr lang="en-US" i="1" dirty="0">
              <a:solidFill>
                <a:schemeClr val="accent3"/>
              </a:solidFill>
              <a:latin typeface="Arial MT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25A08C38-32E2-8261-418A-C33DF25E857B}"/>
              </a:ext>
            </a:extLst>
          </p:cNvPr>
          <p:cNvSpPr txBox="1"/>
          <p:nvPr/>
        </p:nvSpPr>
        <p:spPr>
          <a:xfrm>
            <a:off x="819024" y="929447"/>
            <a:ext cx="5744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n-GB" b="1" u="sng" noProof="0">
                <a:solidFill>
                  <a:schemeClr val="accent3"/>
                </a:solidFill>
                <a:latin typeface="Arial MT"/>
              </a:rPr>
              <a:t>1,2,3 Close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806820C0-F5B4-8EFC-A4BD-C1D169BBB662}"/>
              </a:ext>
            </a:extLst>
          </p:cNvPr>
          <p:cNvSpPr txBox="1"/>
          <p:nvPr/>
        </p:nvSpPr>
        <p:spPr>
          <a:xfrm>
            <a:off x="846733" y="3133874"/>
            <a:ext cx="11068176" cy="12875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  <a:defRPr/>
            </a:pPr>
            <a:r>
              <a:rPr lang="en-US" dirty="0">
                <a:solidFill>
                  <a:schemeClr val="accent3"/>
                </a:solidFill>
                <a:latin typeface="Arial MT"/>
              </a:rPr>
              <a:t>Pull on the trial closes to get them to say “</a:t>
            </a:r>
            <a:r>
              <a:rPr lang="en-US" b="1" i="1" dirty="0">
                <a:solidFill>
                  <a:schemeClr val="accent3"/>
                </a:solidFill>
                <a:latin typeface="Arial MT"/>
              </a:rPr>
              <a:t>YES”</a:t>
            </a:r>
            <a:r>
              <a:rPr lang="en-US" dirty="0">
                <a:solidFill>
                  <a:schemeClr val="accent3"/>
                </a:solidFill>
                <a:latin typeface="Arial MT"/>
              </a:rPr>
              <a:t> 3 times…</a:t>
            </a:r>
          </a:p>
          <a:p>
            <a:pPr>
              <a:lnSpc>
                <a:spcPct val="150000"/>
              </a:lnSpc>
              <a:defRPr/>
            </a:pPr>
            <a:r>
              <a:rPr lang="en-US" b="1" i="1" dirty="0">
                <a:solidFill>
                  <a:schemeClr val="accent3"/>
                </a:solidFill>
                <a:latin typeface="Arial MT"/>
              </a:rPr>
              <a:t>“You need the car by the 20th next month? You liked the sport model I showed you? You want it with the side steps, right?  Great, if I can get you all of this will you be happy to buy?”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7F434B4-65FB-4ECB-CD6E-B8C909DCA361}"/>
              </a:ext>
            </a:extLst>
          </p:cNvPr>
          <p:cNvSpPr txBox="1"/>
          <p:nvPr/>
        </p:nvSpPr>
        <p:spPr>
          <a:xfrm>
            <a:off x="846733" y="2834941"/>
            <a:ext cx="5744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n-GB" b="1" u="sng">
                <a:solidFill>
                  <a:schemeClr val="accent3"/>
                </a:solidFill>
                <a:latin typeface="Arial MT"/>
              </a:rPr>
              <a:t>Yes</a:t>
            </a:r>
            <a:r>
              <a:rPr lang="en-GB" b="1" u="sng" noProof="0">
                <a:solidFill>
                  <a:schemeClr val="accent3"/>
                </a:solidFill>
                <a:latin typeface="Arial MT"/>
              </a:rPr>
              <a:t> Close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1853B8B7-08D7-C9E3-2515-E3EFD34C1F8A}"/>
              </a:ext>
            </a:extLst>
          </p:cNvPr>
          <p:cNvSpPr txBox="1"/>
          <p:nvPr/>
        </p:nvSpPr>
        <p:spPr>
          <a:xfrm>
            <a:off x="846733" y="5026501"/>
            <a:ext cx="11159221" cy="17030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  <a:defRPr/>
            </a:pPr>
            <a:r>
              <a:rPr lang="en-US" dirty="0">
                <a:solidFill>
                  <a:schemeClr val="accent3"/>
                </a:solidFill>
                <a:latin typeface="Arial MT"/>
              </a:rPr>
              <a:t>Taking all the hassle away from the customer…</a:t>
            </a:r>
          </a:p>
          <a:p>
            <a:pPr>
              <a:lnSpc>
                <a:spcPct val="150000"/>
              </a:lnSpc>
              <a:defRPr/>
            </a:pPr>
            <a:r>
              <a:rPr lang="en-US" b="1" i="1" dirty="0">
                <a:solidFill>
                  <a:schemeClr val="accent3"/>
                </a:solidFill>
                <a:latin typeface="Arial MT"/>
              </a:rPr>
              <a:t>Take a seat, I’ll get you another coffee, ill print this order with everything you’ve told me you want all you need to do is sign and the deals done…</a:t>
            </a:r>
          </a:p>
          <a:p>
            <a:pPr>
              <a:lnSpc>
                <a:spcPct val="150000"/>
              </a:lnSpc>
              <a:defRPr/>
            </a:pPr>
            <a:endParaRPr lang="en-US" i="1" dirty="0">
              <a:solidFill>
                <a:schemeClr val="accent3"/>
              </a:solidFill>
              <a:latin typeface="Arial MT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5AE3045D-BE41-1923-A13A-8A3CD03D06F8}"/>
              </a:ext>
            </a:extLst>
          </p:cNvPr>
          <p:cNvSpPr txBox="1"/>
          <p:nvPr/>
        </p:nvSpPr>
        <p:spPr>
          <a:xfrm>
            <a:off x="846733" y="4753638"/>
            <a:ext cx="5744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n-GB" b="1" u="sng">
                <a:solidFill>
                  <a:schemeClr val="accent3"/>
                </a:solidFill>
                <a:latin typeface="Arial MT"/>
              </a:rPr>
              <a:t>No Hassle</a:t>
            </a:r>
            <a:r>
              <a:rPr lang="en-GB" b="1" u="sng" noProof="0">
                <a:solidFill>
                  <a:schemeClr val="accent3"/>
                </a:solidFill>
                <a:latin typeface="Arial MT"/>
              </a:rPr>
              <a:t> Clos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2877571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  <p:bldP spid="6" grpId="0"/>
      <p:bldP spid="8" grpId="0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914D32B8-FC18-ABB9-2943-DC5D4C9D1EA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/>
              <a:t>See you next time!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ACB83679-4E9E-10DE-49BB-E96AE1D2F93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/>
              <a:t>Thank you!</a:t>
            </a:r>
            <a:endParaRPr lang="en-US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92D75785-0C54-EEFA-56A5-19041821F289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pPr>
              <a:spcAft>
                <a:spcPts val="600"/>
              </a:spcAft>
            </a:pPr>
            <a:r>
              <a:rPr lang="en-US" dirty="0"/>
              <a:t>Contact</a:t>
            </a:r>
          </a:p>
          <a:p>
            <a:pPr>
              <a:spcAft>
                <a:spcPts val="600"/>
              </a:spcAft>
            </a:pPr>
            <a:r>
              <a:rPr lang="en-US" b="1" dirty="0"/>
              <a:t>Fatma Alsagaf</a:t>
            </a:r>
            <a:br>
              <a:rPr lang="en-US" dirty="0"/>
            </a:br>
            <a:r>
              <a:rPr lang="en-US" dirty="0"/>
              <a:t>Learning &amp; Development Consultant</a:t>
            </a:r>
          </a:p>
          <a:p>
            <a:pPr>
              <a:spcAft>
                <a:spcPts val="600"/>
              </a:spcAft>
            </a:pPr>
            <a:r>
              <a:rPr lang="en-US" dirty="0"/>
              <a:t>Al-Futtaim Automotive Talent Centre, Dubai, UAE</a:t>
            </a:r>
          </a:p>
          <a:p>
            <a:pPr>
              <a:spcAft>
                <a:spcPts val="600"/>
              </a:spcAft>
            </a:pPr>
            <a:r>
              <a:rPr lang="en-US" dirty="0"/>
              <a:t>E-mail: Fatma.Alsagaf@alfuttaim.com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3089540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36AAC94-51FA-D5F5-20C0-1CC88F14AE7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994278BB-F234-AA4D-3699-102427D114B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897768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73" imgH="473" progId="TCLayout.ActiveDocument.1">
                  <p:embed/>
                </p:oleObj>
              </mc:Choice>
              <mc:Fallback>
                <p:oleObj name="think-cell Folie" r:id="rId3" imgW="473" imgH="473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94278BB-F234-AA4D-3699-102427D114B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61ADD81F-9754-D8D6-9818-71A12420E7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9750" y="540001"/>
            <a:ext cx="9230251" cy="387798"/>
          </a:xfrm>
        </p:spPr>
        <p:txBody>
          <a:bodyPr vert="horz"/>
          <a:lstStyle/>
          <a:p>
            <a:r>
              <a:rPr lang="en-US" dirty="0"/>
              <a:t>Product Presentation – What do I need to know?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29A3493-6A59-6A73-B558-15EC9D64177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421533" y="6462506"/>
            <a:ext cx="230714" cy="123111"/>
          </a:xfrm>
        </p:spPr>
        <p:txBody>
          <a:bodyPr/>
          <a:lstStyle/>
          <a:p>
            <a:fld id="{83109594-1B45-46DB-8A0B-416F125317DC}" type="slidenum">
              <a:rPr lang="en-US" smtClean="0"/>
              <a:pPr/>
              <a:t>2</a:t>
            </a:fld>
            <a:endParaRPr lang="en-US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65D1B26E-36A0-192E-25ED-30A50EB6D417}"/>
              </a:ext>
            </a:extLst>
          </p:cNvPr>
          <p:cNvSpPr/>
          <p:nvPr/>
        </p:nvSpPr>
        <p:spPr>
          <a:xfrm>
            <a:off x="3598555" y="1068694"/>
            <a:ext cx="7939966" cy="1617150"/>
          </a:xfrm>
          <a:prstGeom prst="rect">
            <a:avLst/>
          </a:prstGeom>
          <a:solidFill>
            <a:srgbClr val="243782">
              <a:alpha val="1200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ar-AE" sz="1800" b="0" i="0" u="none" strike="noStrike" kern="120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E6AE2AC5-39C5-D116-BE2A-96AA7E295FF7}"/>
              </a:ext>
            </a:extLst>
          </p:cNvPr>
          <p:cNvSpPr txBox="1"/>
          <p:nvPr/>
        </p:nvSpPr>
        <p:spPr>
          <a:xfrm>
            <a:off x="3744481" y="1615658"/>
            <a:ext cx="7670307" cy="584775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Use all the gathered information during the previous steps in the sales process (Lead Management, Matching needs to product)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007D8CF-BC7E-E15A-ECC4-423C2187A5FA}"/>
              </a:ext>
            </a:extLst>
          </p:cNvPr>
          <p:cNvSpPr/>
          <p:nvPr/>
        </p:nvSpPr>
        <p:spPr>
          <a:xfrm>
            <a:off x="756221" y="2889224"/>
            <a:ext cx="2724150" cy="1617150"/>
          </a:xfrm>
          <a:prstGeom prst="rect">
            <a:avLst/>
          </a:prstGeom>
          <a:solidFill>
            <a:srgbClr val="24378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ar-AE" sz="1800" b="0" i="0" u="none" strike="noStrike" kern="120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99EF329-CB30-0142-E2CD-8519F0682474}"/>
              </a:ext>
            </a:extLst>
          </p:cNvPr>
          <p:cNvSpPr/>
          <p:nvPr/>
        </p:nvSpPr>
        <p:spPr>
          <a:xfrm>
            <a:off x="3598555" y="2889224"/>
            <a:ext cx="7939966" cy="1617150"/>
          </a:xfrm>
          <a:prstGeom prst="rect">
            <a:avLst/>
          </a:prstGeom>
          <a:solidFill>
            <a:srgbClr val="243782">
              <a:alpha val="1200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ar-AE" sz="1800" b="0" i="0" u="none" strike="noStrike" kern="120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34FB8FA4-666B-9577-8412-24A2E8ADF315}"/>
              </a:ext>
            </a:extLst>
          </p:cNvPr>
          <p:cNvSpPr txBox="1"/>
          <p:nvPr/>
        </p:nvSpPr>
        <p:spPr>
          <a:xfrm>
            <a:off x="756221" y="3374632"/>
            <a:ext cx="2724150" cy="646331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Know your product and the competitors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B006D66C-CFF1-D8AF-5B27-DB191539CB01}"/>
              </a:ext>
            </a:extLst>
          </p:cNvPr>
          <p:cNvSpPr txBox="1"/>
          <p:nvPr/>
        </p:nvSpPr>
        <p:spPr>
          <a:xfrm>
            <a:off x="3744481" y="2936714"/>
            <a:ext cx="7670307" cy="1569660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mplete all available product training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ake a commitment to continual study and practice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ther manufacturers’ websites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hird-party consumer websites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utomotive enthusiast publications and websites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ewspaper or magazine automotive reviews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91539E42-12CA-329F-9C31-60AC09A6D572}"/>
              </a:ext>
            </a:extLst>
          </p:cNvPr>
          <p:cNvSpPr/>
          <p:nvPr/>
        </p:nvSpPr>
        <p:spPr>
          <a:xfrm>
            <a:off x="742350" y="1068694"/>
            <a:ext cx="2724150" cy="1617150"/>
          </a:xfrm>
          <a:prstGeom prst="rect">
            <a:avLst/>
          </a:prstGeom>
          <a:solidFill>
            <a:srgbClr val="24378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ar-AE" sz="1800" b="0" i="0" u="none" strike="noStrike" kern="120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2D204C01-A0BE-FFA0-FA16-C4DF1611FEBC}"/>
              </a:ext>
            </a:extLst>
          </p:cNvPr>
          <p:cNvSpPr txBox="1"/>
          <p:nvPr/>
        </p:nvSpPr>
        <p:spPr>
          <a:xfrm>
            <a:off x="742350" y="1554103"/>
            <a:ext cx="2724150" cy="646331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Know your customer’s needs and wants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606F95E8-19B9-9848-2556-D7423B9EDD39}"/>
              </a:ext>
            </a:extLst>
          </p:cNvPr>
          <p:cNvSpPr/>
          <p:nvPr/>
        </p:nvSpPr>
        <p:spPr>
          <a:xfrm>
            <a:off x="742350" y="4704460"/>
            <a:ext cx="2724150" cy="1617150"/>
          </a:xfrm>
          <a:prstGeom prst="rect">
            <a:avLst/>
          </a:prstGeom>
          <a:solidFill>
            <a:srgbClr val="24378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ar-AE" sz="1800" b="0" i="0" u="none" strike="noStrike" kern="120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DC147330-FD85-5391-A3AE-2E10D9C0F2A3}"/>
              </a:ext>
            </a:extLst>
          </p:cNvPr>
          <p:cNvSpPr/>
          <p:nvPr/>
        </p:nvSpPr>
        <p:spPr>
          <a:xfrm>
            <a:off x="3584684" y="4704460"/>
            <a:ext cx="7939966" cy="1617150"/>
          </a:xfrm>
          <a:prstGeom prst="rect">
            <a:avLst/>
          </a:prstGeom>
          <a:solidFill>
            <a:srgbClr val="243782">
              <a:alpha val="1200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ar-AE" sz="1800" b="0" i="0" u="none" strike="noStrike" kern="120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6BC64A48-8569-0D8E-3C1A-449E172C93FD}"/>
              </a:ext>
            </a:extLst>
          </p:cNvPr>
          <p:cNvSpPr txBox="1"/>
          <p:nvPr/>
        </p:nvSpPr>
        <p:spPr>
          <a:xfrm>
            <a:off x="742350" y="5189868"/>
            <a:ext cx="2724150" cy="923330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evelop interactive, confident presentation skills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BC7A846A-9BB8-A9B9-C1CC-1F8D0CEE5F78}"/>
              </a:ext>
            </a:extLst>
          </p:cNvPr>
          <p:cNvSpPr txBox="1"/>
          <p:nvPr/>
        </p:nvSpPr>
        <p:spPr>
          <a:xfrm>
            <a:off x="3744481" y="5359146"/>
            <a:ext cx="7670307" cy="338554"/>
          </a:xfrm>
          <a:prstGeom prst="rect">
            <a:avLst/>
          </a:prstGeom>
          <a:noFill/>
        </p:spPr>
        <p:txBody>
          <a:bodyPr wrap="square" lIns="91440" tIns="45720" rIns="91440" bIns="45720" rtlCol="1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Use the SPECIT &amp; FFBA methods to support your presentation</a:t>
            </a:r>
          </a:p>
        </p:txBody>
      </p:sp>
    </p:spTree>
    <p:extLst>
      <p:ext uri="{BB962C8B-B14F-4D97-AF65-F5344CB8AC3E}">
        <p14:creationId xmlns:p14="http://schemas.microsoft.com/office/powerpoint/2010/main" val="71185377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7" grpId="0"/>
      <p:bldP spid="9" grpId="0" animBg="1"/>
      <p:bldP spid="10" grpId="0" animBg="1"/>
      <p:bldP spid="11" grpId="0"/>
      <p:bldP spid="12" grpId="0"/>
      <p:bldP spid="13" grpId="0" animBg="1"/>
      <p:bldP spid="14" grpId="0"/>
      <p:bldP spid="15" grpId="0" animBg="1"/>
      <p:bldP spid="16" grpId="0" animBg="1"/>
      <p:bldP spid="17" grpId="0"/>
      <p:bldP spid="18" grpId="0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F4BE57B-3F83-BCED-630A-AB99171FF89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350F2BF6-B5DF-7B11-09AC-A065F0F8C29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9750" y="540001"/>
            <a:ext cx="5465999" cy="387798"/>
          </a:xfrm>
        </p:spPr>
        <p:txBody>
          <a:bodyPr/>
          <a:lstStyle/>
          <a:p>
            <a:r>
              <a:rPr lang="en-US" dirty="0"/>
              <a:t>Product Presentation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3E5CDDA7-F748-1178-8009-8F9F7598701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421533" y="6462506"/>
            <a:ext cx="230714" cy="123111"/>
          </a:xfrm>
        </p:spPr>
        <p:txBody>
          <a:bodyPr/>
          <a:lstStyle/>
          <a:p>
            <a:fld id="{83109594-1B45-46DB-8A0B-416F125317DC}" type="slidenum">
              <a:rPr lang="en-US" smtClean="0"/>
              <a:pPr/>
              <a:t>3</a:t>
            </a:fld>
            <a:endParaRPr lang="en-US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82377107-BFFF-743F-2AE5-387B00B87A5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39751" y="927799"/>
            <a:ext cx="5465688" cy="388937"/>
          </a:xfrm>
        </p:spPr>
        <p:txBody>
          <a:bodyPr/>
          <a:lstStyle/>
          <a:p>
            <a:r>
              <a:rPr lang="en-US" dirty="0"/>
              <a:t>FFBA</a:t>
            </a: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181F6A5A-E53C-C0EE-90CB-DA3543F4E4ED}"/>
              </a:ext>
            </a:extLst>
          </p:cNvPr>
          <p:cNvSpPr txBox="1">
            <a:spLocks/>
          </p:cNvSpPr>
          <p:nvPr/>
        </p:nvSpPr>
        <p:spPr bwMode="gray">
          <a:xfrm>
            <a:off x="514135" y="1830950"/>
            <a:ext cx="6310885" cy="11079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2pPr>
            <a:lvl3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3pPr>
            <a:lvl4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4pPr>
            <a:lvl5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5pPr>
            <a:lvl6pPr marL="4572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6pPr>
            <a:lvl7pPr marL="9144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7pPr>
            <a:lvl8pPr marL="13716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8pPr>
            <a:lvl9pPr marL="18288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marL="0" marR="0" lvl="0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275353" algn="l"/>
              </a:tabLst>
              <a:defRPr/>
            </a:pP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 (Headings)"/>
                <a:ea typeface="+mj-ea"/>
                <a:cs typeface="Calibri"/>
              </a:rPr>
              <a:t>FEATURES ARE ONLY USEFUL IF THEY RELATE TO THE CUSTOMERS NEEDS AND WANTS </a:t>
            </a:r>
          </a:p>
          <a:p>
            <a:pPr marL="0" marR="0" lvl="0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275353" algn="l"/>
              </a:tabLst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 (Headings)"/>
              <a:ea typeface="+mj-ea"/>
              <a:cs typeface="Calibri"/>
            </a:endParaRPr>
          </a:p>
          <a:p>
            <a:pPr marL="0" marR="0" lvl="0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275353" algn="l"/>
              </a:tabLst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 (Headings)"/>
              <a:ea typeface="+mj-ea"/>
              <a:cs typeface="Calibri"/>
            </a:endParaRPr>
          </a:p>
        </p:txBody>
      </p:sp>
      <p:pic>
        <p:nvPicPr>
          <p:cNvPr id="7" name="Picture Placeholder 7">
            <a:extLst>
              <a:ext uri="{FF2B5EF4-FFF2-40B4-BE49-F238E27FC236}">
                <a16:creationId xmlns:a16="http://schemas.microsoft.com/office/drawing/2014/main" id="{BF3BE1BB-A6E7-26D8-18CA-A08E760FDCCD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671" t="69" r="15549" b="-69"/>
          <a:stretch/>
        </p:blipFill>
        <p:spPr>
          <a:xfrm>
            <a:off x="7554653" y="2147817"/>
            <a:ext cx="4527756" cy="3409681"/>
          </a:xfrm>
          <a:prstGeom prst="rect">
            <a:avLst/>
          </a:prstGeom>
          <a:effectLst>
            <a:softEdge rad="31750"/>
          </a:effectLst>
        </p:spPr>
      </p:pic>
      <p:graphicFrame>
        <p:nvGraphicFramePr>
          <p:cNvPr id="8" name="Table 7">
            <a:extLst>
              <a:ext uri="{FF2B5EF4-FFF2-40B4-BE49-F238E27FC236}">
                <a16:creationId xmlns:a16="http://schemas.microsoft.com/office/drawing/2014/main" id="{75621DC8-07BD-2E31-232C-949446FB943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68657463"/>
              </p:ext>
            </p:extLst>
          </p:nvPr>
        </p:nvGraphicFramePr>
        <p:xfrm>
          <a:off x="440176" y="2772773"/>
          <a:ext cx="6936176" cy="1910666"/>
        </p:xfrm>
        <a:graphic>
          <a:graphicData uri="http://schemas.openxmlformats.org/drawingml/2006/table">
            <a:tbl>
              <a:tblPr/>
              <a:tblGrid>
                <a:gridCol w="1734044">
                  <a:extLst>
                    <a:ext uri="{9D8B030D-6E8A-4147-A177-3AD203B41FA5}">
                      <a16:colId xmlns:a16="http://schemas.microsoft.com/office/drawing/2014/main" val="2367019945"/>
                    </a:ext>
                  </a:extLst>
                </a:gridCol>
                <a:gridCol w="1734044">
                  <a:extLst>
                    <a:ext uri="{9D8B030D-6E8A-4147-A177-3AD203B41FA5}">
                      <a16:colId xmlns:a16="http://schemas.microsoft.com/office/drawing/2014/main" val="3070025052"/>
                    </a:ext>
                  </a:extLst>
                </a:gridCol>
                <a:gridCol w="1734044">
                  <a:extLst>
                    <a:ext uri="{9D8B030D-6E8A-4147-A177-3AD203B41FA5}">
                      <a16:colId xmlns:a16="http://schemas.microsoft.com/office/drawing/2014/main" val="699666375"/>
                    </a:ext>
                  </a:extLst>
                </a:gridCol>
                <a:gridCol w="1734044">
                  <a:extLst>
                    <a:ext uri="{9D8B030D-6E8A-4147-A177-3AD203B41FA5}">
                      <a16:colId xmlns:a16="http://schemas.microsoft.com/office/drawing/2014/main" val="3629623947"/>
                    </a:ext>
                  </a:extLst>
                </a:gridCol>
              </a:tblGrid>
              <a:tr h="480614"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 b="1">
                          <a:effectLst/>
                        </a:rPr>
                        <a:t>Feature</a:t>
                      </a:r>
                      <a:endParaRPr lang="en-US" sz="1400" b="0">
                        <a:effectLst/>
                      </a:endParaRPr>
                    </a:p>
                  </a:txBody>
                  <a:tcPr marL="85633" marR="57089" marT="57089" marB="49953">
                    <a:lnL w="9525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F5F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 b="1">
                          <a:effectLst/>
                        </a:rPr>
                        <a:t>Function</a:t>
                      </a:r>
                      <a:endParaRPr lang="en-US" sz="1400" b="0">
                        <a:effectLst/>
                      </a:endParaRPr>
                    </a:p>
                  </a:txBody>
                  <a:tcPr marL="85633" marR="57089" marT="57089" marB="49953">
                    <a:lnL w="9525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F5F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 b="1">
                          <a:effectLst/>
                        </a:rPr>
                        <a:t>Benefit</a:t>
                      </a:r>
                      <a:endParaRPr lang="en-US" sz="1400" b="0">
                        <a:effectLst/>
                      </a:endParaRPr>
                    </a:p>
                  </a:txBody>
                  <a:tcPr marL="85633" marR="57089" marT="57089" marB="49953">
                    <a:lnL w="9525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F5F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 b="1">
                          <a:effectLst/>
                        </a:rPr>
                        <a:t>Advantage</a:t>
                      </a:r>
                      <a:endParaRPr lang="en-US" sz="1400" b="0">
                        <a:effectLst/>
                      </a:endParaRPr>
                    </a:p>
                  </a:txBody>
                  <a:tcPr marL="85633" marR="57089" marT="57089" marB="49953">
                    <a:lnL w="9525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F5F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88539531"/>
                  </a:ext>
                </a:extLst>
              </a:tr>
              <a:tr h="1430052"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>
                          <a:effectLst/>
                        </a:rPr>
                        <a:t>What the product/service has</a:t>
                      </a:r>
                    </a:p>
                  </a:txBody>
                  <a:tcPr marL="85633" marR="57089" marT="57089" marB="42816">
                    <a:lnL w="9525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>
                          <a:effectLst/>
                        </a:rPr>
                        <a:t>What it does</a:t>
                      </a:r>
                    </a:p>
                  </a:txBody>
                  <a:tcPr marL="85633" marR="57089" marT="57089" marB="42816">
                    <a:lnL w="9525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 dirty="0">
                          <a:effectLst/>
                        </a:rPr>
                        <a:t>Why it matters to the customer</a:t>
                      </a:r>
                    </a:p>
                  </a:txBody>
                  <a:tcPr marL="85633" marR="57089" marT="57089" marB="42816">
                    <a:lnL w="9525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 dirty="0">
                          <a:effectLst/>
                        </a:rPr>
                        <a:t>Why it’s better than alternative</a:t>
                      </a:r>
                    </a:p>
                  </a:txBody>
                  <a:tcPr marL="85633" marR="57089" marT="57089" marB="42816">
                    <a:lnL w="9525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712772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28275698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330AFE4-CA6B-1801-DC72-AF50412D9BB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1E279924-0B91-A1DD-98F0-F354CA396D9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73" imgH="473" progId="TCLayout.ActiveDocument.1">
                  <p:embed/>
                </p:oleObj>
              </mc:Choice>
              <mc:Fallback>
                <p:oleObj name="think-cell Folie" r:id="rId3" imgW="473" imgH="473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E279924-0B91-A1DD-98F0-F354CA396D9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48CD5BD-A4CD-BCE3-6110-EE176888426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421533" y="6462506"/>
            <a:ext cx="230714" cy="123111"/>
          </a:xfrm>
        </p:spPr>
        <p:txBody>
          <a:bodyPr/>
          <a:lstStyle/>
          <a:p>
            <a:fld id="{83109594-1B45-46DB-8A0B-416F125317DC}" type="slidenum">
              <a:rPr lang="en-US" smtClean="0"/>
              <a:pPr/>
              <a:t>4</a:t>
            </a:fld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CBB726D9-60AA-72B6-3C08-4DD52FA9E50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roduct Presentation - SPECIT</a:t>
            </a:r>
          </a:p>
        </p:txBody>
      </p:sp>
      <p:sp>
        <p:nvSpPr>
          <p:cNvPr id="19" name="Google Shape;244;p34">
            <a:extLst>
              <a:ext uri="{FF2B5EF4-FFF2-40B4-BE49-F238E27FC236}">
                <a16:creationId xmlns:a16="http://schemas.microsoft.com/office/drawing/2014/main" id="{D76819EB-BAFA-B02D-BF3A-AEA344F6F7E5}"/>
              </a:ext>
            </a:extLst>
          </p:cNvPr>
          <p:cNvSpPr txBox="1">
            <a:spLocks/>
          </p:cNvSpPr>
          <p:nvPr/>
        </p:nvSpPr>
        <p:spPr>
          <a:xfrm>
            <a:off x="6241274" y="1504435"/>
            <a:ext cx="549087" cy="55664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189" marR="0" lvl="0" indent="-22859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600"/>
              <a:buFont typeface="Arial"/>
              <a:buNone/>
              <a:defRPr sz="1400" b="1" i="0" u="none" strike="noStrike" cap="none">
                <a:solidFill>
                  <a:schemeClr val="dk2"/>
                </a:solidFill>
                <a:latin typeface="Encode Sans"/>
                <a:ea typeface="Encode Sans"/>
                <a:cs typeface="Encode Sans"/>
                <a:sym typeface="Encode Sans"/>
              </a:defRPr>
            </a:lvl1pPr>
            <a:lvl2pPr marL="914378" marR="0" lvl="1" indent="-330192" algn="l" rtl="0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2"/>
              </a:buClr>
              <a:buSzPts val="1600"/>
              <a:buFont typeface="Arial"/>
              <a:buChar char="•"/>
              <a:defRPr sz="1400" b="0" i="0" u="none" strike="noStrike" cap="none">
                <a:solidFill>
                  <a:schemeClr val="dk2"/>
                </a:solidFill>
                <a:latin typeface="Encode Sans"/>
                <a:ea typeface="Encode Sans"/>
                <a:cs typeface="Encode Sans"/>
                <a:sym typeface="Encode Sans"/>
              </a:defRPr>
            </a:lvl2pPr>
            <a:lvl3pPr marL="1371566" marR="0" lvl="2" indent="-228594" algn="l" rtl="0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2"/>
              </a:buClr>
              <a:buSzPts val="1800"/>
              <a:buFont typeface="Encode Sans"/>
              <a:buNone/>
              <a:defRPr sz="1100" b="0" i="0" u="none" strike="noStrike" cap="none">
                <a:solidFill>
                  <a:schemeClr val="dk2"/>
                </a:solidFill>
                <a:latin typeface="Encode Sans"/>
                <a:ea typeface="Encode Sans"/>
                <a:cs typeface="Encode Sans"/>
                <a:sym typeface="Encode Sans"/>
              </a:defRPr>
            </a:lvl3pPr>
            <a:lvl4pPr marL="1828754" marR="0" lvl="3" indent="-228594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2"/>
              </a:buClr>
              <a:buSzPts val="1500"/>
              <a:buFont typeface="Encode Sans"/>
              <a:buNone/>
              <a:defRPr sz="1000" b="1" i="0" u="none" strike="noStrike" cap="none">
                <a:solidFill>
                  <a:schemeClr val="dk2"/>
                </a:solidFill>
                <a:latin typeface="Encode Sans"/>
                <a:ea typeface="Encode Sans"/>
                <a:cs typeface="Encode Sans"/>
                <a:sym typeface="Encode Sans"/>
              </a:defRPr>
            </a:lvl4pPr>
            <a:lvl5pPr marL="2285943" marR="0" lvl="4" indent="-323842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2"/>
              </a:buClr>
              <a:buSzPts val="1500"/>
              <a:buFont typeface="Arial"/>
              <a:buChar char="•"/>
              <a:defRPr sz="1000" b="0" i="0" u="none" strike="noStrike" cap="none">
                <a:solidFill>
                  <a:schemeClr val="dk2"/>
                </a:solidFill>
                <a:latin typeface="Encode Sans"/>
                <a:ea typeface="Encode Sans"/>
                <a:cs typeface="Encode Sans"/>
                <a:sym typeface="Encode Sans"/>
              </a:defRPr>
            </a:lvl5pPr>
            <a:lvl6pPr marL="2743132" marR="0" lvl="5" indent="-317492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000" b="0" i="0" u="none" strike="noStrike" cap="none">
                <a:solidFill>
                  <a:schemeClr val="dk1"/>
                </a:solidFill>
                <a:latin typeface="Encode Sans"/>
                <a:ea typeface="Encode Sans"/>
                <a:cs typeface="Encode Sans"/>
                <a:sym typeface="Encode Sans"/>
              </a:defRPr>
            </a:lvl6pPr>
            <a:lvl7pPr marL="3200320" marR="0" lvl="6" indent="-317492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000" b="0" i="0" u="none" strike="noStrike" cap="none">
                <a:solidFill>
                  <a:schemeClr val="dk1"/>
                </a:solidFill>
                <a:latin typeface="Encode Sans"/>
                <a:ea typeface="Encode Sans"/>
                <a:cs typeface="Encode Sans"/>
                <a:sym typeface="Encode Sans"/>
              </a:defRPr>
            </a:lvl7pPr>
            <a:lvl8pPr marL="3657509" marR="0" lvl="7" indent="-317492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000" b="0" i="0" u="none" strike="noStrike" cap="none">
                <a:solidFill>
                  <a:schemeClr val="dk1"/>
                </a:solidFill>
                <a:latin typeface="Encode Sans"/>
                <a:ea typeface="Encode Sans"/>
                <a:cs typeface="Encode Sans"/>
                <a:sym typeface="Encode Sans"/>
              </a:defRPr>
            </a:lvl8pPr>
            <a:lvl9pPr marL="4114697" marR="0" lvl="8" indent="-317492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000" b="0" i="0" u="none" strike="noStrike" cap="none">
                <a:solidFill>
                  <a:schemeClr val="dk1"/>
                </a:solidFill>
                <a:latin typeface="Encode Sans"/>
                <a:ea typeface="Encode Sans"/>
                <a:cs typeface="Encode Sans"/>
                <a:sym typeface="Encode Sans"/>
              </a:defRPr>
            </a:lvl9pPr>
          </a:lstStyle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243782"/>
              </a:buClr>
              <a:buSzPts val="1500"/>
              <a:buFont typeface="Arial"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>
                <a:ln>
                  <a:noFill/>
                </a:ln>
                <a:solidFill>
                  <a:srgbClr val="243782"/>
                </a:solidFill>
                <a:effectLst/>
                <a:uLnTx/>
                <a:uFillTx/>
                <a:latin typeface="+mj-lt"/>
                <a:sym typeface="Encode Sans"/>
              </a:rPr>
              <a:t>S</a:t>
            </a:r>
          </a:p>
        </p:txBody>
      </p:sp>
      <p:sp>
        <p:nvSpPr>
          <p:cNvPr id="20" name="Google Shape;244;p34">
            <a:extLst>
              <a:ext uri="{FF2B5EF4-FFF2-40B4-BE49-F238E27FC236}">
                <a16:creationId xmlns:a16="http://schemas.microsoft.com/office/drawing/2014/main" id="{2F8E8302-C18B-1446-F11A-B04833F12A63}"/>
              </a:ext>
            </a:extLst>
          </p:cNvPr>
          <p:cNvSpPr txBox="1">
            <a:spLocks/>
          </p:cNvSpPr>
          <p:nvPr/>
        </p:nvSpPr>
        <p:spPr>
          <a:xfrm>
            <a:off x="6241273" y="2284672"/>
            <a:ext cx="549087" cy="55664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189" marR="0" lvl="0" indent="-22859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600"/>
              <a:buFont typeface="Arial"/>
              <a:buNone/>
              <a:defRPr sz="1400" b="1" i="0" u="none" strike="noStrike" cap="none">
                <a:solidFill>
                  <a:schemeClr val="dk2"/>
                </a:solidFill>
                <a:latin typeface="Encode Sans"/>
                <a:ea typeface="Encode Sans"/>
                <a:cs typeface="Encode Sans"/>
                <a:sym typeface="Encode Sans"/>
              </a:defRPr>
            </a:lvl1pPr>
            <a:lvl2pPr marL="914378" marR="0" lvl="1" indent="-330192" algn="l" rtl="0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2"/>
              </a:buClr>
              <a:buSzPts val="1600"/>
              <a:buFont typeface="Arial"/>
              <a:buChar char="•"/>
              <a:defRPr sz="1400" b="0" i="0" u="none" strike="noStrike" cap="none">
                <a:solidFill>
                  <a:schemeClr val="dk2"/>
                </a:solidFill>
                <a:latin typeface="Encode Sans"/>
                <a:ea typeface="Encode Sans"/>
                <a:cs typeface="Encode Sans"/>
                <a:sym typeface="Encode Sans"/>
              </a:defRPr>
            </a:lvl2pPr>
            <a:lvl3pPr marL="1371566" marR="0" lvl="2" indent="-228594" algn="l" rtl="0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2"/>
              </a:buClr>
              <a:buSzPts val="1800"/>
              <a:buFont typeface="Encode Sans"/>
              <a:buNone/>
              <a:defRPr sz="1100" b="0" i="0" u="none" strike="noStrike" cap="none">
                <a:solidFill>
                  <a:schemeClr val="dk2"/>
                </a:solidFill>
                <a:latin typeface="Encode Sans"/>
                <a:ea typeface="Encode Sans"/>
                <a:cs typeface="Encode Sans"/>
                <a:sym typeface="Encode Sans"/>
              </a:defRPr>
            </a:lvl3pPr>
            <a:lvl4pPr marL="1828754" marR="0" lvl="3" indent="-228594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2"/>
              </a:buClr>
              <a:buSzPts val="1500"/>
              <a:buFont typeface="Encode Sans"/>
              <a:buNone/>
              <a:defRPr sz="1000" b="1" i="0" u="none" strike="noStrike" cap="none">
                <a:solidFill>
                  <a:schemeClr val="dk2"/>
                </a:solidFill>
                <a:latin typeface="Encode Sans"/>
                <a:ea typeface="Encode Sans"/>
                <a:cs typeface="Encode Sans"/>
                <a:sym typeface="Encode Sans"/>
              </a:defRPr>
            </a:lvl4pPr>
            <a:lvl5pPr marL="2285943" marR="0" lvl="4" indent="-323842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2"/>
              </a:buClr>
              <a:buSzPts val="1500"/>
              <a:buFont typeface="Arial"/>
              <a:buChar char="•"/>
              <a:defRPr sz="1000" b="0" i="0" u="none" strike="noStrike" cap="none">
                <a:solidFill>
                  <a:schemeClr val="dk2"/>
                </a:solidFill>
                <a:latin typeface="Encode Sans"/>
                <a:ea typeface="Encode Sans"/>
                <a:cs typeface="Encode Sans"/>
                <a:sym typeface="Encode Sans"/>
              </a:defRPr>
            </a:lvl5pPr>
            <a:lvl6pPr marL="2743132" marR="0" lvl="5" indent="-317492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000" b="0" i="0" u="none" strike="noStrike" cap="none">
                <a:solidFill>
                  <a:schemeClr val="dk1"/>
                </a:solidFill>
                <a:latin typeface="Encode Sans"/>
                <a:ea typeface="Encode Sans"/>
                <a:cs typeface="Encode Sans"/>
                <a:sym typeface="Encode Sans"/>
              </a:defRPr>
            </a:lvl6pPr>
            <a:lvl7pPr marL="3200320" marR="0" lvl="6" indent="-317492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000" b="0" i="0" u="none" strike="noStrike" cap="none">
                <a:solidFill>
                  <a:schemeClr val="dk1"/>
                </a:solidFill>
                <a:latin typeface="Encode Sans"/>
                <a:ea typeface="Encode Sans"/>
                <a:cs typeface="Encode Sans"/>
                <a:sym typeface="Encode Sans"/>
              </a:defRPr>
            </a:lvl7pPr>
            <a:lvl8pPr marL="3657509" marR="0" lvl="7" indent="-317492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000" b="0" i="0" u="none" strike="noStrike" cap="none">
                <a:solidFill>
                  <a:schemeClr val="dk1"/>
                </a:solidFill>
                <a:latin typeface="Encode Sans"/>
                <a:ea typeface="Encode Sans"/>
                <a:cs typeface="Encode Sans"/>
                <a:sym typeface="Encode Sans"/>
              </a:defRPr>
            </a:lvl8pPr>
            <a:lvl9pPr marL="4114697" marR="0" lvl="8" indent="-317492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000" b="0" i="0" u="none" strike="noStrike" cap="none">
                <a:solidFill>
                  <a:schemeClr val="dk1"/>
                </a:solidFill>
                <a:latin typeface="Encode Sans"/>
                <a:ea typeface="Encode Sans"/>
                <a:cs typeface="Encode Sans"/>
                <a:sym typeface="Encode Sans"/>
              </a:defRPr>
            </a:lvl9pPr>
          </a:lstStyle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243782"/>
              </a:buClr>
              <a:buSzPts val="1500"/>
              <a:buFont typeface="Arial"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>
                <a:ln>
                  <a:noFill/>
                </a:ln>
                <a:solidFill>
                  <a:srgbClr val="243782"/>
                </a:solidFill>
                <a:effectLst/>
                <a:uLnTx/>
                <a:uFillTx/>
                <a:latin typeface="+mj-lt"/>
                <a:sym typeface="Encode Sans"/>
              </a:rPr>
              <a:t>P</a:t>
            </a:r>
          </a:p>
        </p:txBody>
      </p:sp>
      <p:sp>
        <p:nvSpPr>
          <p:cNvPr id="21" name="Google Shape;244;p34">
            <a:extLst>
              <a:ext uri="{FF2B5EF4-FFF2-40B4-BE49-F238E27FC236}">
                <a16:creationId xmlns:a16="http://schemas.microsoft.com/office/drawing/2014/main" id="{E67D82C3-E285-7217-1580-0E9A08965E60}"/>
              </a:ext>
            </a:extLst>
          </p:cNvPr>
          <p:cNvSpPr txBox="1">
            <a:spLocks/>
          </p:cNvSpPr>
          <p:nvPr/>
        </p:nvSpPr>
        <p:spPr>
          <a:xfrm>
            <a:off x="6241272" y="3064909"/>
            <a:ext cx="549087" cy="55664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189" marR="0" lvl="0" indent="-22859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600"/>
              <a:buFont typeface="Arial"/>
              <a:buNone/>
              <a:defRPr sz="1400" b="1" i="0" u="none" strike="noStrike" cap="none">
                <a:solidFill>
                  <a:schemeClr val="dk2"/>
                </a:solidFill>
                <a:latin typeface="Encode Sans"/>
                <a:ea typeface="Encode Sans"/>
                <a:cs typeface="Encode Sans"/>
                <a:sym typeface="Encode Sans"/>
              </a:defRPr>
            </a:lvl1pPr>
            <a:lvl2pPr marL="914378" marR="0" lvl="1" indent="-330192" algn="l" rtl="0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2"/>
              </a:buClr>
              <a:buSzPts val="1600"/>
              <a:buFont typeface="Arial"/>
              <a:buChar char="•"/>
              <a:defRPr sz="1400" b="0" i="0" u="none" strike="noStrike" cap="none">
                <a:solidFill>
                  <a:schemeClr val="dk2"/>
                </a:solidFill>
                <a:latin typeface="Encode Sans"/>
                <a:ea typeface="Encode Sans"/>
                <a:cs typeface="Encode Sans"/>
                <a:sym typeface="Encode Sans"/>
              </a:defRPr>
            </a:lvl2pPr>
            <a:lvl3pPr marL="1371566" marR="0" lvl="2" indent="-228594" algn="l" rtl="0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2"/>
              </a:buClr>
              <a:buSzPts val="1800"/>
              <a:buFont typeface="Encode Sans"/>
              <a:buNone/>
              <a:defRPr sz="1100" b="0" i="0" u="none" strike="noStrike" cap="none">
                <a:solidFill>
                  <a:schemeClr val="dk2"/>
                </a:solidFill>
                <a:latin typeface="Encode Sans"/>
                <a:ea typeface="Encode Sans"/>
                <a:cs typeface="Encode Sans"/>
                <a:sym typeface="Encode Sans"/>
              </a:defRPr>
            </a:lvl3pPr>
            <a:lvl4pPr marL="1828754" marR="0" lvl="3" indent="-228594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2"/>
              </a:buClr>
              <a:buSzPts val="1500"/>
              <a:buFont typeface="Encode Sans"/>
              <a:buNone/>
              <a:defRPr sz="1000" b="1" i="0" u="none" strike="noStrike" cap="none">
                <a:solidFill>
                  <a:schemeClr val="dk2"/>
                </a:solidFill>
                <a:latin typeface="Encode Sans"/>
                <a:ea typeface="Encode Sans"/>
                <a:cs typeface="Encode Sans"/>
                <a:sym typeface="Encode Sans"/>
              </a:defRPr>
            </a:lvl4pPr>
            <a:lvl5pPr marL="2285943" marR="0" lvl="4" indent="-323842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2"/>
              </a:buClr>
              <a:buSzPts val="1500"/>
              <a:buFont typeface="Arial"/>
              <a:buChar char="•"/>
              <a:defRPr sz="1000" b="0" i="0" u="none" strike="noStrike" cap="none">
                <a:solidFill>
                  <a:schemeClr val="dk2"/>
                </a:solidFill>
                <a:latin typeface="Encode Sans"/>
                <a:ea typeface="Encode Sans"/>
                <a:cs typeface="Encode Sans"/>
                <a:sym typeface="Encode Sans"/>
              </a:defRPr>
            </a:lvl5pPr>
            <a:lvl6pPr marL="2743132" marR="0" lvl="5" indent="-317492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000" b="0" i="0" u="none" strike="noStrike" cap="none">
                <a:solidFill>
                  <a:schemeClr val="dk1"/>
                </a:solidFill>
                <a:latin typeface="Encode Sans"/>
                <a:ea typeface="Encode Sans"/>
                <a:cs typeface="Encode Sans"/>
                <a:sym typeface="Encode Sans"/>
              </a:defRPr>
            </a:lvl6pPr>
            <a:lvl7pPr marL="3200320" marR="0" lvl="6" indent="-317492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000" b="0" i="0" u="none" strike="noStrike" cap="none">
                <a:solidFill>
                  <a:schemeClr val="dk1"/>
                </a:solidFill>
                <a:latin typeface="Encode Sans"/>
                <a:ea typeface="Encode Sans"/>
                <a:cs typeface="Encode Sans"/>
                <a:sym typeface="Encode Sans"/>
              </a:defRPr>
            </a:lvl7pPr>
            <a:lvl8pPr marL="3657509" marR="0" lvl="7" indent="-317492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000" b="0" i="0" u="none" strike="noStrike" cap="none">
                <a:solidFill>
                  <a:schemeClr val="dk1"/>
                </a:solidFill>
                <a:latin typeface="Encode Sans"/>
                <a:ea typeface="Encode Sans"/>
                <a:cs typeface="Encode Sans"/>
                <a:sym typeface="Encode Sans"/>
              </a:defRPr>
            </a:lvl8pPr>
            <a:lvl9pPr marL="4114697" marR="0" lvl="8" indent="-317492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000" b="0" i="0" u="none" strike="noStrike" cap="none">
                <a:solidFill>
                  <a:schemeClr val="dk1"/>
                </a:solidFill>
                <a:latin typeface="Encode Sans"/>
                <a:ea typeface="Encode Sans"/>
                <a:cs typeface="Encode Sans"/>
                <a:sym typeface="Encode Sans"/>
              </a:defRPr>
            </a:lvl9pPr>
          </a:lstStyle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243782"/>
              </a:buClr>
              <a:buSzPts val="1500"/>
              <a:buFont typeface="Arial"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>
                <a:ln>
                  <a:noFill/>
                </a:ln>
                <a:solidFill>
                  <a:srgbClr val="243782"/>
                </a:solidFill>
                <a:effectLst/>
                <a:uLnTx/>
                <a:uFillTx/>
                <a:latin typeface="+mj-lt"/>
                <a:sym typeface="Encode Sans"/>
              </a:rPr>
              <a:t>E</a:t>
            </a:r>
          </a:p>
        </p:txBody>
      </p:sp>
      <p:sp>
        <p:nvSpPr>
          <p:cNvPr id="22" name="Google Shape;244;p34">
            <a:extLst>
              <a:ext uri="{FF2B5EF4-FFF2-40B4-BE49-F238E27FC236}">
                <a16:creationId xmlns:a16="http://schemas.microsoft.com/office/drawing/2014/main" id="{40E36D11-8676-9ED8-31C8-3D09213C63A4}"/>
              </a:ext>
            </a:extLst>
          </p:cNvPr>
          <p:cNvSpPr txBox="1">
            <a:spLocks/>
          </p:cNvSpPr>
          <p:nvPr/>
        </p:nvSpPr>
        <p:spPr>
          <a:xfrm>
            <a:off x="6237598" y="3845472"/>
            <a:ext cx="549087" cy="55664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189" marR="0" lvl="0" indent="-22859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600"/>
              <a:buFont typeface="Arial"/>
              <a:buNone/>
              <a:defRPr sz="1400" b="1" i="0" u="none" strike="noStrike" cap="none">
                <a:solidFill>
                  <a:schemeClr val="dk2"/>
                </a:solidFill>
                <a:latin typeface="Encode Sans"/>
                <a:ea typeface="Encode Sans"/>
                <a:cs typeface="Encode Sans"/>
                <a:sym typeface="Encode Sans"/>
              </a:defRPr>
            </a:lvl1pPr>
            <a:lvl2pPr marL="914378" marR="0" lvl="1" indent="-330192" algn="l" rtl="0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2"/>
              </a:buClr>
              <a:buSzPts val="1600"/>
              <a:buFont typeface="Arial"/>
              <a:buChar char="•"/>
              <a:defRPr sz="1400" b="0" i="0" u="none" strike="noStrike" cap="none">
                <a:solidFill>
                  <a:schemeClr val="dk2"/>
                </a:solidFill>
                <a:latin typeface="Encode Sans"/>
                <a:ea typeface="Encode Sans"/>
                <a:cs typeface="Encode Sans"/>
                <a:sym typeface="Encode Sans"/>
              </a:defRPr>
            </a:lvl2pPr>
            <a:lvl3pPr marL="1371566" marR="0" lvl="2" indent="-228594" algn="l" rtl="0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2"/>
              </a:buClr>
              <a:buSzPts val="1800"/>
              <a:buFont typeface="Encode Sans"/>
              <a:buNone/>
              <a:defRPr sz="1100" b="0" i="0" u="none" strike="noStrike" cap="none">
                <a:solidFill>
                  <a:schemeClr val="dk2"/>
                </a:solidFill>
                <a:latin typeface="Encode Sans"/>
                <a:ea typeface="Encode Sans"/>
                <a:cs typeface="Encode Sans"/>
                <a:sym typeface="Encode Sans"/>
              </a:defRPr>
            </a:lvl3pPr>
            <a:lvl4pPr marL="1828754" marR="0" lvl="3" indent="-228594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2"/>
              </a:buClr>
              <a:buSzPts val="1500"/>
              <a:buFont typeface="Encode Sans"/>
              <a:buNone/>
              <a:defRPr sz="1000" b="1" i="0" u="none" strike="noStrike" cap="none">
                <a:solidFill>
                  <a:schemeClr val="dk2"/>
                </a:solidFill>
                <a:latin typeface="Encode Sans"/>
                <a:ea typeface="Encode Sans"/>
                <a:cs typeface="Encode Sans"/>
                <a:sym typeface="Encode Sans"/>
              </a:defRPr>
            </a:lvl4pPr>
            <a:lvl5pPr marL="2285943" marR="0" lvl="4" indent="-323842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2"/>
              </a:buClr>
              <a:buSzPts val="1500"/>
              <a:buFont typeface="Arial"/>
              <a:buChar char="•"/>
              <a:defRPr sz="1000" b="0" i="0" u="none" strike="noStrike" cap="none">
                <a:solidFill>
                  <a:schemeClr val="dk2"/>
                </a:solidFill>
                <a:latin typeface="Encode Sans"/>
                <a:ea typeface="Encode Sans"/>
                <a:cs typeface="Encode Sans"/>
                <a:sym typeface="Encode Sans"/>
              </a:defRPr>
            </a:lvl5pPr>
            <a:lvl6pPr marL="2743132" marR="0" lvl="5" indent="-317492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000" b="0" i="0" u="none" strike="noStrike" cap="none">
                <a:solidFill>
                  <a:schemeClr val="dk1"/>
                </a:solidFill>
                <a:latin typeface="Encode Sans"/>
                <a:ea typeface="Encode Sans"/>
                <a:cs typeface="Encode Sans"/>
                <a:sym typeface="Encode Sans"/>
              </a:defRPr>
            </a:lvl6pPr>
            <a:lvl7pPr marL="3200320" marR="0" lvl="6" indent="-317492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000" b="0" i="0" u="none" strike="noStrike" cap="none">
                <a:solidFill>
                  <a:schemeClr val="dk1"/>
                </a:solidFill>
                <a:latin typeface="Encode Sans"/>
                <a:ea typeface="Encode Sans"/>
                <a:cs typeface="Encode Sans"/>
                <a:sym typeface="Encode Sans"/>
              </a:defRPr>
            </a:lvl7pPr>
            <a:lvl8pPr marL="3657509" marR="0" lvl="7" indent="-317492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000" b="0" i="0" u="none" strike="noStrike" cap="none">
                <a:solidFill>
                  <a:schemeClr val="dk1"/>
                </a:solidFill>
                <a:latin typeface="Encode Sans"/>
                <a:ea typeface="Encode Sans"/>
                <a:cs typeface="Encode Sans"/>
                <a:sym typeface="Encode Sans"/>
              </a:defRPr>
            </a:lvl8pPr>
            <a:lvl9pPr marL="4114697" marR="0" lvl="8" indent="-317492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000" b="0" i="0" u="none" strike="noStrike" cap="none">
                <a:solidFill>
                  <a:schemeClr val="dk1"/>
                </a:solidFill>
                <a:latin typeface="Encode Sans"/>
                <a:ea typeface="Encode Sans"/>
                <a:cs typeface="Encode Sans"/>
                <a:sym typeface="Encode Sans"/>
              </a:defRPr>
            </a:lvl9pPr>
          </a:lstStyle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243782"/>
              </a:buClr>
              <a:buSzPts val="1500"/>
              <a:buFont typeface="Arial"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>
                <a:ln>
                  <a:noFill/>
                </a:ln>
                <a:solidFill>
                  <a:srgbClr val="243782"/>
                </a:solidFill>
                <a:effectLst/>
                <a:uLnTx/>
                <a:uFillTx/>
                <a:latin typeface="+mj-lt"/>
                <a:sym typeface="Encode Sans"/>
              </a:rPr>
              <a:t>C</a:t>
            </a:r>
          </a:p>
        </p:txBody>
      </p:sp>
      <p:sp>
        <p:nvSpPr>
          <p:cNvPr id="23" name="Google Shape;244;p34">
            <a:extLst>
              <a:ext uri="{FF2B5EF4-FFF2-40B4-BE49-F238E27FC236}">
                <a16:creationId xmlns:a16="http://schemas.microsoft.com/office/drawing/2014/main" id="{02597B20-0CD6-55C2-6E95-25D05D4BA602}"/>
              </a:ext>
            </a:extLst>
          </p:cNvPr>
          <p:cNvSpPr txBox="1">
            <a:spLocks/>
          </p:cNvSpPr>
          <p:nvPr/>
        </p:nvSpPr>
        <p:spPr>
          <a:xfrm>
            <a:off x="7108680" y="1504436"/>
            <a:ext cx="3886936" cy="5566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189" marR="0" lvl="0" indent="-22859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600"/>
              <a:buFont typeface="Arial"/>
              <a:buNone/>
              <a:defRPr sz="1400" b="1" i="0" u="none" strike="noStrike" cap="none">
                <a:solidFill>
                  <a:schemeClr val="dk2"/>
                </a:solidFill>
                <a:latin typeface="Encode Sans"/>
                <a:ea typeface="Encode Sans"/>
                <a:cs typeface="Encode Sans"/>
                <a:sym typeface="Encode Sans"/>
              </a:defRPr>
            </a:lvl1pPr>
            <a:lvl2pPr marL="914378" marR="0" lvl="1" indent="-330192" algn="l" rtl="0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2"/>
              </a:buClr>
              <a:buSzPts val="1600"/>
              <a:buFont typeface="Arial"/>
              <a:buChar char="•"/>
              <a:defRPr sz="1400" b="0" i="0" u="none" strike="noStrike" cap="none">
                <a:solidFill>
                  <a:schemeClr val="dk2"/>
                </a:solidFill>
                <a:latin typeface="Encode Sans"/>
                <a:ea typeface="Encode Sans"/>
                <a:cs typeface="Encode Sans"/>
                <a:sym typeface="Encode Sans"/>
              </a:defRPr>
            </a:lvl2pPr>
            <a:lvl3pPr marL="1371566" marR="0" lvl="2" indent="-228594" algn="l" rtl="0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2"/>
              </a:buClr>
              <a:buSzPts val="1800"/>
              <a:buFont typeface="Encode Sans"/>
              <a:buNone/>
              <a:defRPr sz="1100" b="0" i="0" u="none" strike="noStrike" cap="none">
                <a:solidFill>
                  <a:schemeClr val="dk2"/>
                </a:solidFill>
                <a:latin typeface="Encode Sans"/>
                <a:ea typeface="Encode Sans"/>
                <a:cs typeface="Encode Sans"/>
                <a:sym typeface="Encode Sans"/>
              </a:defRPr>
            </a:lvl3pPr>
            <a:lvl4pPr marL="1828754" marR="0" lvl="3" indent="-228594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2"/>
              </a:buClr>
              <a:buSzPts val="1500"/>
              <a:buFont typeface="Encode Sans"/>
              <a:buNone/>
              <a:defRPr sz="1000" b="1" i="0" u="none" strike="noStrike" cap="none">
                <a:solidFill>
                  <a:schemeClr val="dk2"/>
                </a:solidFill>
                <a:latin typeface="Encode Sans"/>
                <a:ea typeface="Encode Sans"/>
                <a:cs typeface="Encode Sans"/>
                <a:sym typeface="Encode Sans"/>
              </a:defRPr>
            </a:lvl4pPr>
            <a:lvl5pPr marL="2285943" marR="0" lvl="4" indent="-323842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2"/>
              </a:buClr>
              <a:buSzPts val="1500"/>
              <a:buFont typeface="Arial"/>
              <a:buChar char="•"/>
              <a:defRPr sz="1000" b="0" i="0" u="none" strike="noStrike" cap="none">
                <a:solidFill>
                  <a:schemeClr val="dk2"/>
                </a:solidFill>
                <a:latin typeface="Encode Sans"/>
                <a:ea typeface="Encode Sans"/>
                <a:cs typeface="Encode Sans"/>
                <a:sym typeface="Encode Sans"/>
              </a:defRPr>
            </a:lvl5pPr>
            <a:lvl6pPr marL="2743132" marR="0" lvl="5" indent="-317492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000" b="0" i="0" u="none" strike="noStrike" cap="none">
                <a:solidFill>
                  <a:schemeClr val="dk1"/>
                </a:solidFill>
                <a:latin typeface="Encode Sans"/>
                <a:ea typeface="Encode Sans"/>
                <a:cs typeface="Encode Sans"/>
                <a:sym typeface="Encode Sans"/>
              </a:defRPr>
            </a:lvl6pPr>
            <a:lvl7pPr marL="3200320" marR="0" lvl="6" indent="-317492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000" b="0" i="0" u="none" strike="noStrike" cap="none">
                <a:solidFill>
                  <a:schemeClr val="dk1"/>
                </a:solidFill>
                <a:latin typeface="Encode Sans"/>
                <a:ea typeface="Encode Sans"/>
                <a:cs typeface="Encode Sans"/>
                <a:sym typeface="Encode Sans"/>
              </a:defRPr>
            </a:lvl7pPr>
            <a:lvl8pPr marL="3657509" marR="0" lvl="7" indent="-317492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000" b="0" i="0" u="none" strike="noStrike" cap="none">
                <a:solidFill>
                  <a:schemeClr val="dk1"/>
                </a:solidFill>
                <a:latin typeface="Encode Sans"/>
                <a:ea typeface="Encode Sans"/>
                <a:cs typeface="Encode Sans"/>
                <a:sym typeface="Encode Sans"/>
              </a:defRPr>
            </a:lvl8pPr>
            <a:lvl9pPr marL="4114697" marR="0" lvl="8" indent="-317492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000" b="0" i="0" u="none" strike="noStrike" cap="none">
                <a:solidFill>
                  <a:schemeClr val="dk1"/>
                </a:solidFill>
                <a:latin typeface="Encode Sans"/>
                <a:ea typeface="Encode Sans"/>
                <a:cs typeface="Encode Sans"/>
                <a:sym typeface="Encode Sans"/>
              </a:defRPr>
            </a:lvl9pPr>
          </a:lstStyle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243782"/>
              </a:buClr>
              <a:buSzPts val="1500"/>
              <a:buFont typeface="Arial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243782"/>
                </a:solidFill>
                <a:effectLst/>
                <a:uLnTx/>
                <a:uFillTx/>
                <a:latin typeface="+mj-lt"/>
                <a:sym typeface="Encode Sans"/>
              </a:rPr>
              <a:t>Safety &amp; Security</a:t>
            </a:r>
          </a:p>
        </p:txBody>
      </p:sp>
      <p:sp>
        <p:nvSpPr>
          <p:cNvPr id="24" name="Google Shape;244;p34">
            <a:extLst>
              <a:ext uri="{FF2B5EF4-FFF2-40B4-BE49-F238E27FC236}">
                <a16:creationId xmlns:a16="http://schemas.microsoft.com/office/drawing/2014/main" id="{E890B008-F3CC-3E87-8366-5263E66EA0D7}"/>
              </a:ext>
            </a:extLst>
          </p:cNvPr>
          <p:cNvSpPr txBox="1">
            <a:spLocks/>
          </p:cNvSpPr>
          <p:nvPr/>
        </p:nvSpPr>
        <p:spPr>
          <a:xfrm>
            <a:off x="7108680" y="2284672"/>
            <a:ext cx="3886936" cy="5566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189" marR="0" lvl="0" indent="-22859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600"/>
              <a:buFont typeface="Arial"/>
              <a:buNone/>
              <a:defRPr sz="1400" b="1" i="0" u="none" strike="noStrike" cap="none">
                <a:solidFill>
                  <a:schemeClr val="dk2"/>
                </a:solidFill>
                <a:latin typeface="Encode Sans"/>
                <a:ea typeface="Encode Sans"/>
                <a:cs typeface="Encode Sans"/>
                <a:sym typeface="Encode Sans"/>
              </a:defRPr>
            </a:lvl1pPr>
            <a:lvl2pPr marL="914378" marR="0" lvl="1" indent="-330192" algn="l" rtl="0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2"/>
              </a:buClr>
              <a:buSzPts val="1600"/>
              <a:buFont typeface="Arial"/>
              <a:buChar char="•"/>
              <a:defRPr sz="1400" b="0" i="0" u="none" strike="noStrike" cap="none">
                <a:solidFill>
                  <a:schemeClr val="dk2"/>
                </a:solidFill>
                <a:latin typeface="Encode Sans"/>
                <a:ea typeface="Encode Sans"/>
                <a:cs typeface="Encode Sans"/>
                <a:sym typeface="Encode Sans"/>
              </a:defRPr>
            </a:lvl2pPr>
            <a:lvl3pPr marL="1371566" marR="0" lvl="2" indent="-228594" algn="l" rtl="0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2"/>
              </a:buClr>
              <a:buSzPts val="1800"/>
              <a:buFont typeface="Encode Sans"/>
              <a:buNone/>
              <a:defRPr sz="1100" b="0" i="0" u="none" strike="noStrike" cap="none">
                <a:solidFill>
                  <a:schemeClr val="dk2"/>
                </a:solidFill>
                <a:latin typeface="Encode Sans"/>
                <a:ea typeface="Encode Sans"/>
                <a:cs typeface="Encode Sans"/>
                <a:sym typeface="Encode Sans"/>
              </a:defRPr>
            </a:lvl3pPr>
            <a:lvl4pPr marL="1828754" marR="0" lvl="3" indent="-228594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2"/>
              </a:buClr>
              <a:buSzPts val="1500"/>
              <a:buFont typeface="Encode Sans"/>
              <a:buNone/>
              <a:defRPr sz="1000" b="1" i="0" u="none" strike="noStrike" cap="none">
                <a:solidFill>
                  <a:schemeClr val="dk2"/>
                </a:solidFill>
                <a:latin typeface="Encode Sans"/>
                <a:ea typeface="Encode Sans"/>
                <a:cs typeface="Encode Sans"/>
                <a:sym typeface="Encode Sans"/>
              </a:defRPr>
            </a:lvl4pPr>
            <a:lvl5pPr marL="2285943" marR="0" lvl="4" indent="-323842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2"/>
              </a:buClr>
              <a:buSzPts val="1500"/>
              <a:buFont typeface="Arial"/>
              <a:buChar char="•"/>
              <a:defRPr sz="1000" b="0" i="0" u="none" strike="noStrike" cap="none">
                <a:solidFill>
                  <a:schemeClr val="dk2"/>
                </a:solidFill>
                <a:latin typeface="Encode Sans"/>
                <a:ea typeface="Encode Sans"/>
                <a:cs typeface="Encode Sans"/>
                <a:sym typeface="Encode Sans"/>
              </a:defRPr>
            </a:lvl5pPr>
            <a:lvl6pPr marL="2743132" marR="0" lvl="5" indent="-317492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000" b="0" i="0" u="none" strike="noStrike" cap="none">
                <a:solidFill>
                  <a:schemeClr val="dk1"/>
                </a:solidFill>
                <a:latin typeface="Encode Sans"/>
                <a:ea typeface="Encode Sans"/>
                <a:cs typeface="Encode Sans"/>
                <a:sym typeface="Encode Sans"/>
              </a:defRPr>
            </a:lvl6pPr>
            <a:lvl7pPr marL="3200320" marR="0" lvl="6" indent="-317492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000" b="0" i="0" u="none" strike="noStrike" cap="none">
                <a:solidFill>
                  <a:schemeClr val="dk1"/>
                </a:solidFill>
                <a:latin typeface="Encode Sans"/>
                <a:ea typeface="Encode Sans"/>
                <a:cs typeface="Encode Sans"/>
                <a:sym typeface="Encode Sans"/>
              </a:defRPr>
            </a:lvl7pPr>
            <a:lvl8pPr marL="3657509" marR="0" lvl="7" indent="-317492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000" b="0" i="0" u="none" strike="noStrike" cap="none">
                <a:solidFill>
                  <a:schemeClr val="dk1"/>
                </a:solidFill>
                <a:latin typeface="Encode Sans"/>
                <a:ea typeface="Encode Sans"/>
                <a:cs typeface="Encode Sans"/>
                <a:sym typeface="Encode Sans"/>
              </a:defRPr>
            </a:lvl8pPr>
            <a:lvl9pPr marL="4114697" marR="0" lvl="8" indent="-317492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000" b="0" i="0" u="none" strike="noStrike" cap="none">
                <a:solidFill>
                  <a:schemeClr val="dk1"/>
                </a:solidFill>
                <a:latin typeface="Encode Sans"/>
                <a:ea typeface="Encode Sans"/>
                <a:cs typeface="Encode Sans"/>
                <a:sym typeface="Encode Sans"/>
              </a:defRPr>
            </a:lvl9pPr>
          </a:lstStyle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243782"/>
              </a:buClr>
              <a:buSzPts val="1500"/>
              <a:buFont typeface="Arial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243782"/>
                </a:solidFill>
                <a:effectLst/>
                <a:uLnTx/>
                <a:uFillTx/>
                <a:latin typeface="+mj-lt"/>
                <a:sym typeface="Encode Sans"/>
              </a:rPr>
              <a:t>Performance</a:t>
            </a:r>
          </a:p>
        </p:txBody>
      </p:sp>
      <p:sp>
        <p:nvSpPr>
          <p:cNvPr id="25" name="Google Shape;244;p34">
            <a:extLst>
              <a:ext uri="{FF2B5EF4-FFF2-40B4-BE49-F238E27FC236}">
                <a16:creationId xmlns:a16="http://schemas.microsoft.com/office/drawing/2014/main" id="{86F661A5-4449-E149-8778-4178B8B4AD55}"/>
              </a:ext>
            </a:extLst>
          </p:cNvPr>
          <p:cNvSpPr txBox="1">
            <a:spLocks/>
          </p:cNvSpPr>
          <p:nvPr/>
        </p:nvSpPr>
        <p:spPr>
          <a:xfrm>
            <a:off x="7108680" y="3064908"/>
            <a:ext cx="3886936" cy="5566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189" marR="0" lvl="0" indent="-22859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600"/>
              <a:buFont typeface="Arial"/>
              <a:buNone/>
              <a:defRPr sz="1400" b="1" i="0" u="none" strike="noStrike" cap="none">
                <a:solidFill>
                  <a:schemeClr val="dk2"/>
                </a:solidFill>
                <a:latin typeface="Encode Sans"/>
                <a:ea typeface="Encode Sans"/>
                <a:cs typeface="Encode Sans"/>
                <a:sym typeface="Encode Sans"/>
              </a:defRPr>
            </a:lvl1pPr>
            <a:lvl2pPr marL="914378" marR="0" lvl="1" indent="-330192" algn="l" rtl="0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2"/>
              </a:buClr>
              <a:buSzPts val="1600"/>
              <a:buFont typeface="Arial"/>
              <a:buChar char="•"/>
              <a:defRPr sz="1400" b="0" i="0" u="none" strike="noStrike" cap="none">
                <a:solidFill>
                  <a:schemeClr val="dk2"/>
                </a:solidFill>
                <a:latin typeface="Encode Sans"/>
                <a:ea typeface="Encode Sans"/>
                <a:cs typeface="Encode Sans"/>
                <a:sym typeface="Encode Sans"/>
              </a:defRPr>
            </a:lvl2pPr>
            <a:lvl3pPr marL="1371566" marR="0" lvl="2" indent="-228594" algn="l" rtl="0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2"/>
              </a:buClr>
              <a:buSzPts val="1800"/>
              <a:buFont typeface="Encode Sans"/>
              <a:buNone/>
              <a:defRPr sz="1100" b="0" i="0" u="none" strike="noStrike" cap="none">
                <a:solidFill>
                  <a:schemeClr val="dk2"/>
                </a:solidFill>
                <a:latin typeface="Encode Sans"/>
                <a:ea typeface="Encode Sans"/>
                <a:cs typeface="Encode Sans"/>
                <a:sym typeface="Encode Sans"/>
              </a:defRPr>
            </a:lvl3pPr>
            <a:lvl4pPr marL="1828754" marR="0" lvl="3" indent="-228594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2"/>
              </a:buClr>
              <a:buSzPts val="1500"/>
              <a:buFont typeface="Encode Sans"/>
              <a:buNone/>
              <a:defRPr sz="1000" b="1" i="0" u="none" strike="noStrike" cap="none">
                <a:solidFill>
                  <a:schemeClr val="dk2"/>
                </a:solidFill>
                <a:latin typeface="Encode Sans"/>
                <a:ea typeface="Encode Sans"/>
                <a:cs typeface="Encode Sans"/>
                <a:sym typeface="Encode Sans"/>
              </a:defRPr>
            </a:lvl4pPr>
            <a:lvl5pPr marL="2285943" marR="0" lvl="4" indent="-323842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2"/>
              </a:buClr>
              <a:buSzPts val="1500"/>
              <a:buFont typeface="Arial"/>
              <a:buChar char="•"/>
              <a:defRPr sz="1000" b="0" i="0" u="none" strike="noStrike" cap="none">
                <a:solidFill>
                  <a:schemeClr val="dk2"/>
                </a:solidFill>
                <a:latin typeface="Encode Sans"/>
                <a:ea typeface="Encode Sans"/>
                <a:cs typeface="Encode Sans"/>
                <a:sym typeface="Encode Sans"/>
              </a:defRPr>
            </a:lvl5pPr>
            <a:lvl6pPr marL="2743132" marR="0" lvl="5" indent="-317492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000" b="0" i="0" u="none" strike="noStrike" cap="none">
                <a:solidFill>
                  <a:schemeClr val="dk1"/>
                </a:solidFill>
                <a:latin typeface="Encode Sans"/>
                <a:ea typeface="Encode Sans"/>
                <a:cs typeface="Encode Sans"/>
                <a:sym typeface="Encode Sans"/>
              </a:defRPr>
            </a:lvl6pPr>
            <a:lvl7pPr marL="3200320" marR="0" lvl="6" indent="-317492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000" b="0" i="0" u="none" strike="noStrike" cap="none">
                <a:solidFill>
                  <a:schemeClr val="dk1"/>
                </a:solidFill>
                <a:latin typeface="Encode Sans"/>
                <a:ea typeface="Encode Sans"/>
                <a:cs typeface="Encode Sans"/>
                <a:sym typeface="Encode Sans"/>
              </a:defRPr>
            </a:lvl7pPr>
            <a:lvl8pPr marL="3657509" marR="0" lvl="7" indent="-317492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000" b="0" i="0" u="none" strike="noStrike" cap="none">
                <a:solidFill>
                  <a:schemeClr val="dk1"/>
                </a:solidFill>
                <a:latin typeface="Encode Sans"/>
                <a:ea typeface="Encode Sans"/>
                <a:cs typeface="Encode Sans"/>
                <a:sym typeface="Encode Sans"/>
              </a:defRPr>
            </a:lvl8pPr>
            <a:lvl9pPr marL="4114697" marR="0" lvl="8" indent="-317492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000" b="0" i="0" u="none" strike="noStrike" cap="none">
                <a:solidFill>
                  <a:schemeClr val="dk1"/>
                </a:solidFill>
                <a:latin typeface="Encode Sans"/>
                <a:ea typeface="Encode Sans"/>
                <a:cs typeface="Encode Sans"/>
                <a:sym typeface="Encode Sans"/>
              </a:defRPr>
            </a:lvl9pPr>
          </a:lstStyle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243782"/>
              </a:buClr>
              <a:buSzPts val="1500"/>
              <a:buFont typeface="Arial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243782"/>
                </a:solidFill>
                <a:effectLst/>
                <a:uLnTx/>
                <a:uFillTx/>
                <a:latin typeface="+mj-lt"/>
                <a:sym typeface="Encode Sans"/>
              </a:rPr>
              <a:t>Economy, Environment</a:t>
            </a:r>
            <a:r>
              <a:rPr kumimoji="0" lang="en-US" sz="1400" b="0" i="0" u="none" strike="noStrike" kern="0" cap="none" spc="0" normalizeH="0" noProof="0" dirty="0">
                <a:ln>
                  <a:noFill/>
                </a:ln>
                <a:solidFill>
                  <a:srgbClr val="243782"/>
                </a:solidFill>
                <a:effectLst/>
                <a:uLnTx/>
                <a:uFillTx/>
                <a:latin typeface="+mj-lt"/>
                <a:sym typeface="Encode Sans"/>
              </a:rPr>
              <a:t> or</a:t>
            </a: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243782"/>
                </a:solidFill>
                <a:effectLst/>
                <a:uLnTx/>
                <a:uFillTx/>
                <a:latin typeface="+mj-lt"/>
                <a:sym typeface="Encode Sans"/>
              </a:rPr>
              <a:t> Electrification</a:t>
            </a:r>
          </a:p>
        </p:txBody>
      </p:sp>
      <p:sp>
        <p:nvSpPr>
          <p:cNvPr id="26" name="Google Shape;244;p34">
            <a:extLst>
              <a:ext uri="{FF2B5EF4-FFF2-40B4-BE49-F238E27FC236}">
                <a16:creationId xmlns:a16="http://schemas.microsoft.com/office/drawing/2014/main" id="{40394E84-1724-E8D3-B70E-0D8DF7CCACA7}"/>
              </a:ext>
            </a:extLst>
          </p:cNvPr>
          <p:cNvSpPr txBox="1">
            <a:spLocks/>
          </p:cNvSpPr>
          <p:nvPr/>
        </p:nvSpPr>
        <p:spPr>
          <a:xfrm>
            <a:off x="7115428" y="3845473"/>
            <a:ext cx="3886936" cy="5566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189" marR="0" lvl="0" indent="-22859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600"/>
              <a:buFont typeface="Arial"/>
              <a:buNone/>
              <a:defRPr sz="1400" b="1" i="0" u="none" strike="noStrike" cap="none">
                <a:solidFill>
                  <a:schemeClr val="dk2"/>
                </a:solidFill>
                <a:latin typeface="Encode Sans"/>
                <a:ea typeface="Encode Sans"/>
                <a:cs typeface="Encode Sans"/>
                <a:sym typeface="Encode Sans"/>
              </a:defRPr>
            </a:lvl1pPr>
            <a:lvl2pPr marL="914378" marR="0" lvl="1" indent="-330192" algn="l" rtl="0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2"/>
              </a:buClr>
              <a:buSzPts val="1600"/>
              <a:buFont typeface="Arial"/>
              <a:buChar char="•"/>
              <a:defRPr sz="1400" b="0" i="0" u="none" strike="noStrike" cap="none">
                <a:solidFill>
                  <a:schemeClr val="dk2"/>
                </a:solidFill>
                <a:latin typeface="Encode Sans"/>
                <a:ea typeface="Encode Sans"/>
                <a:cs typeface="Encode Sans"/>
                <a:sym typeface="Encode Sans"/>
              </a:defRPr>
            </a:lvl2pPr>
            <a:lvl3pPr marL="1371566" marR="0" lvl="2" indent="-228594" algn="l" rtl="0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2"/>
              </a:buClr>
              <a:buSzPts val="1800"/>
              <a:buFont typeface="Encode Sans"/>
              <a:buNone/>
              <a:defRPr sz="1100" b="0" i="0" u="none" strike="noStrike" cap="none">
                <a:solidFill>
                  <a:schemeClr val="dk2"/>
                </a:solidFill>
                <a:latin typeface="Encode Sans"/>
                <a:ea typeface="Encode Sans"/>
                <a:cs typeface="Encode Sans"/>
                <a:sym typeface="Encode Sans"/>
              </a:defRPr>
            </a:lvl3pPr>
            <a:lvl4pPr marL="1828754" marR="0" lvl="3" indent="-228594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2"/>
              </a:buClr>
              <a:buSzPts val="1500"/>
              <a:buFont typeface="Encode Sans"/>
              <a:buNone/>
              <a:defRPr sz="1000" b="1" i="0" u="none" strike="noStrike" cap="none">
                <a:solidFill>
                  <a:schemeClr val="dk2"/>
                </a:solidFill>
                <a:latin typeface="Encode Sans"/>
                <a:ea typeface="Encode Sans"/>
                <a:cs typeface="Encode Sans"/>
                <a:sym typeface="Encode Sans"/>
              </a:defRPr>
            </a:lvl4pPr>
            <a:lvl5pPr marL="2285943" marR="0" lvl="4" indent="-323842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2"/>
              </a:buClr>
              <a:buSzPts val="1500"/>
              <a:buFont typeface="Arial"/>
              <a:buChar char="•"/>
              <a:defRPr sz="1000" b="0" i="0" u="none" strike="noStrike" cap="none">
                <a:solidFill>
                  <a:schemeClr val="dk2"/>
                </a:solidFill>
                <a:latin typeface="Encode Sans"/>
                <a:ea typeface="Encode Sans"/>
                <a:cs typeface="Encode Sans"/>
                <a:sym typeface="Encode Sans"/>
              </a:defRPr>
            </a:lvl5pPr>
            <a:lvl6pPr marL="2743132" marR="0" lvl="5" indent="-317492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000" b="0" i="0" u="none" strike="noStrike" cap="none">
                <a:solidFill>
                  <a:schemeClr val="dk1"/>
                </a:solidFill>
                <a:latin typeface="Encode Sans"/>
                <a:ea typeface="Encode Sans"/>
                <a:cs typeface="Encode Sans"/>
                <a:sym typeface="Encode Sans"/>
              </a:defRPr>
            </a:lvl6pPr>
            <a:lvl7pPr marL="3200320" marR="0" lvl="6" indent="-317492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000" b="0" i="0" u="none" strike="noStrike" cap="none">
                <a:solidFill>
                  <a:schemeClr val="dk1"/>
                </a:solidFill>
                <a:latin typeface="Encode Sans"/>
                <a:ea typeface="Encode Sans"/>
                <a:cs typeface="Encode Sans"/>
                <a:sym typeface="Encode Sans"/>
              </a:defRPr>
            </a:lvl7pPr>
            <a:lvl8pPr marL="3657509" marR="0" lvl="7" indent="-317492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000" b="0" i="0" u="none" strike="noStrike" cap="none">
                <a:solidFill>
                  <a:schemeClr val="dk1"/>
                </a:solidFill>
                <a:latin typeface="Encode Sans"/>
                <a:ea typeface="Encode Sans"/>
                <a:cs typeface="Encode Sans"/>
                <a:sym typeface="Encode Sans"/>
              </a:defRPr>
            </a:lvl8pPr>
            <a:lvl9pPr marL="4114697" marR="0" lvl="8" indent="-317492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000" b="0" i="0" u="none" strike="noStrike" cap="none">
                <a:solidFill>
                  <a:schemeClr val="dk1"/>
                </a:solidFill>
                <a:latin typeface="Encode Sans"/>
                <a:ea typeface="Encode Sans"/>
                <a:cs typeface="Encode Sans"/>
                <a:sym typeface="Encode Sans"/>
              </a:defRPr>
            </a:lvl9pPr>
          </a:lstStyle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243782"/>
              </a:buClr>
              <a:buSzPts val="1500"/>
              <a:buFont typeface="Arial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243782"/>
                </a:solidFill>
                <a:effectLst/>
                <a:uLnTx/>
                <a:uFillTx/>
                <a:latin typeface="+mj-lt"/>
                <a:sym typeface="Encode Sans"/>
              </a:rPr>
              <a:t>Comfort &amp; Convenience</a:t>
            </a:r>
          </a:p>
        </p:txBody>
      </p:sp>
      <p:sp>
        <p:nvSpPr>
          <p:cNvPr id="27" name="Google Shape;244;p34">
            <a:extLst>
              <a:ext uri="{FF2B5EF4-FFF2-40B4-BE49-F238E27FC236}">
                <a16:creationId xmlns:a16="http://schemas.microsoft.com/office/drawing/2014/main" id="{0257968D-77E3-6F20-F808-3119D0BACB34}"/>
              </a:ext>
            </a:extLst>
          </p:cNvPr>
          <p:cNvSpPr txBox="1">
            <a:spLocks/>
          </p:cNvSpPr>
          <p:nvPr/>
        </p:nvSpPr>
        <p:spPr>
          <a:xfrm>
            <a:off x="6237598" y="4625706"/>
            <a:ext cx="549087" cy="55664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189" marR="0" lvl="0" indent="-22859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600"/>
              <a:buFont typeface="Arial"/>
              <a:buNone/>
              <a:defRPr sz="1400" b="1" i="0" u="none" strike="noStrike" cap="none">
                <a:solidFill>
                  <a:schemeClr val="dk2"/>
                </a:solidFill>
                <a:latin typeface="Encode Sans"/>
                <a:ea typeface="Encode Sans"/>
                <a:cs typeface="Encode Sans"/>
                <a:sym typeface="Encode Sans"/>
              </a:defRPr>
            </a:lvl1pPr>
            <a:lvl2pPr marL="914378" marR="0" lvl="1" indent="-330192" algn="l" rtl="0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2"/>
              </a:buClr>
              <a:buSzPts val="1600"/>
              <a:buFont typeface="Arial"/>
              <a:buChar char="•"/>
              <a:defRPr sz="1400" b="0" i="0" u="none" strike="noStrike" cap="none">
                <a:solidFill>
                  <a:schemeClr val="dk2"/>
                </a:solidFill>
                <a:latin typeface="Encode Sans"/>
                <a:ea typeface="Encode Sans"/>
                <a:cs typeface="Encode Sans"/>
                <a:sym typeface="Encode Sans"/>
              </a:defRPr>
            </a:lvl2pPr>
            <a:lvl3pPr marL="1371566" marR="0" lvl="2" indent="-228594" algn="l" rtl="0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2"/>
              </a:buClr>
              <a:buSzPts val="1800"/>
              <a:buFont typeface="Encode Sans"/>
              <a:buNone/>
              <a:defRPr sz="1100" b="0" i="0" u="none" strike="noStrike" cap="none">
                <a:solidFill>
                  <a:schemeClr val="dk2"/>
                </a:solidFill>
                <a:latin typeface="Encode Sans"/>
                <a:ea typeface="Encode Sans"/>
                <a:cs typeface="Encode Sans"/>
                <a:sym typeface="Encode Sans"/>
              </a:defRPr>
            </a:lvl3pPr>
            <a:lvl4pPr marL="1828754" marR="0" lvl="3" indent="-228594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2"/>
              </a:buClr>
              <a:buSzPts val="1500"/>
              <a:buFont typeface="Encode Sans"/>
              <a:buNone/>
              <a:defRPr sz="1000" b="1" i="0" u="none" strike="noStrike" cap="none">
                <a:solidFill>
                  <a:schemeClr val="dk2"/>
                </a:solidFill>
                <a:latin typeface="Encode Sans"/>
                <a:ea typeface="Encode Sans"/>
                <a:cs typeface="Encode Sans"/>
                <a:sym typeface="Encode Sans"/>
              </a:defRPr>
            </a:lvl4pPr>
            <a:lvl5pPr marL="2285943" marR="0" lvl="4" indent="-323842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2"/>
              </a:buClr>
              <a:buSzPts val="1500"/>
              <a:buFont typeface="Arial"/>
              <a:buChar char="•"/>
              <a:defRPr sz="1000" b="0" i="0" u="none" strike="noStrike" cap="none">
                <a:solidFill>
                  <a:schemeClr val="dk2"/>
                </a:solidFill>
                <a:latin typeface="Encode Sans"/>
                <a:ea typeface="Encode Sans"/>
                <a:cs typeface="Encode Sans"/>
                <a:sym typeface="Encode Sans"/>
              </a:defRPr>
            </a:lvl5pPr>
            <a:lvl6pPr marL="2743132" marR="0" lvl="5" indent="-317492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000" b="0" i="0" u="none" strike="noStrike" cap="none">
                <a:solidFill>
                  <a:schemeClr val="dk1"/>
                </a:solidFill>
                <a:latin typeface="Encode Sans"/>
                <a:ea typeface="Encode Sans"/>
                <a:cs typeface="Encode Sans"/>
                <a:sym typeface="Encode Sans"/>
              </a:defRPr>
            </a:lvl6pPr>
            <a:lvl7pPr marL="3200320" marR="0" lvl="6" indent="-317492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000" b="0" i="0" u="none" strike="noStrike" cap="none">
                <a:solidFill>
                  <a:schemeClr val="dk1"/>
                </a:solidFill>
                <a:latin typeface="Encode Sans"/>
                <a:ea typeface="Encode Sans"/>
                <a:cs typeface="Encode Sans"/>
                <a:sym typeface="Encode Sans"/>
              </a:defRPr>
            </a:lvl7pPr>
            <a:lvl8pPr marL="3657509" marR="0" lvl="7" indent="-317492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000" b="0" i="0" u="none" strike="noStrike" cap="none">
                <a:solidFill>
                  <a:schemeClr val="dk1"/>
                </a:solidFill>
                <a:latin typeface="Encode Sans"/>
                <a:ea typeface="Encode Sans"/>
                <a:cs typeface="Encode Sans"/>
                <a:sym typeface="Encode Sans"/>
              </a:defRPr>
            </a:lvl8pPr>
            <a:lvl9pPr marL="4114697" marR="0" lvl="8" indent="-317492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000" b="0" i="0" u="none" strike="noStrike" cap="none">
                <a:solidFill>
                  <a:schemeClr val="dk1"/>
                </a:solidFill>
                <a:latin typeface="Encode Sans"/>
                <a:ea typeface="Encode Sans"/>
                <a:cs typeface="Encode Sans"/>
                <a:sym typeface="Encode Sans"/>
              </a:defRPr>
            </a:lvl9pPr>
          </a:lstStyle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243782"/>
              </a:buClr>
              <a:buSzPts val="1500"/>
              <a:buFont typeface="Arial"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>
                <a:ln>
                  <a:noFill/>
                </a:ln>
                <a:solidFill>
                  <a:srgbClr val="243782"/>
                </a:solidFill>
                <a:effectLst/>
                <a:uLnTx/>
                <a:uFillTx/>
                <a:latin typeface="+mj-lt"/>
                <a:sym typeface="Encode Sans"/>
              </a:rPr>
              <a:t>I</a:t>
            </a:r>
          </a:p>
        </p:txBody>
      </p:sp>
      <p:sp>
        <p:nvSpPr>
          <p:cNvPr id="28" name="Google Shape;244;p34">
            <a:extLst>
              <a:ext uri="{FF2B5EF4-FFF2-40B4-BE49-F238E27FC236}">
                <a16:creationId xmlns:a16="http://schemas.microsoft.com/office/drawing/2014/main" id="{7DB2EE32-DAA6-E0EB-16BB-797A57A4D69C}"/>
              </a:ext>
            </a:extLst>
          </p:cNvPr>
          <p:cNvSpPr txBox="1">
            <a:spLocks/>
          </p:cNvSpPr>
          <p:nvPr/>
        </p:nvSpPr>
        <p:spPr>
          <a:xfrm>
            <a:off x="7115428" y="4625707"/>
            <a:ext cx="3886936" cy="5566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189" marR="0" lvl="0" indent="-22859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600"/>
              <a:buFont typeface="Arial"/>
              <a:buNone/>
              <a:defRPr sz="1400" b="1" i="0" u="none" strike="noStrike" cap="none">
                <a:solidFill>
                  <a:schemeClr val="dk2"/>
                </a:solidFill>
                <a:latin typeface="Encode Sans"/>
                <a:ea typeface="Encode Sans"/>
                <a:cs typeface="Encode Sans"/>
                <a:sym typeface="Encode Sans"/>
              </a:defRPr>
            </a:lvl1pPr>
            <a:lvl2pPr marL="914378" marR="0" lvl="1" indent="-330192" algn="l" rtl="0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2"/>
              </a:buClr>
              <a:buSzPts val="1600"/>
              <a:buFont typeface="Arial"/>
              <a:buChar char="•"/>
              <a:defRPr sz="1400" b="0" i="0" u="none" strike="noStrike" cap="none">
                <a:solidFill>
                  <a:schemeClr val="dk2"/>
                </a:solidFill>
                <a:latin typeface="Encode Sans"/>
                <a:ea typeface="Encode Sans"/>
                <a:cs typeface="Encode Sans"/>
                <a:sym typeface="Encode Sans"/>
              </a:defRPr>
            </a:lvl2pPr>
            <a:lvl3pPr marL="1371566" marR="0" lvl="2" indent="-228594" algn="l" rtl="0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2"/>
              </a:buClr>
              <a:buSzPts val="1800"/>
              <a:buFont typeface="Encode Sans"/>
              <a:buNone/>
              <a:defRPr sz="1100" b="0" i="0" u="none" strike="noStrike" cap="none">
                <a:solidFill>
                  <a:schemeClr val="dk2"/>
                </a:solidFill>
                <a:latin typeface="Encode Sans"/>
                <a:ea typeface="Encode Sans"/>
                <a:cs typeface="Encode Sans"/>
                <a:sym typeface="Encode Sans"/>
              </a:defRPr>
            </a:lvl3pPr>
            <a:lvl4pPr marL="1828754" marR="0" lvl="3" indent="-228594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2"/>
              </a:buClr>
              <a:buSzPts val="1500"/>
              <a:buFont typeface="Encode Sans"/>
              <a:buNone/>
              <a:defRPr sz="1000" b="1" i="0" u="none" strike="noStrike" cap="none">
                <a:solidFill>
                  <a:schemeClr val="dk2"/>
                </a:solidFill>
                <a:latin typeface="Encode Sans"/>
                <a:ea typeface="Encode Sans"/>
                <a:cs typeface="Encode Sans"/>
                <a:sym typeface="Encode Sans"/>
              </a:defRPr>
            </a:lvl4pPr>
            <a:lvl5pPr marL="2285943" marR="0" lvl="4" indent="-323842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2"/>
              </a:buClr>
              <a:buSzPts val="1500"/>
              <a:buFont typeface="Arial"/>
              <a:buChar char="•"/>
              <a:defRPr sz="1000" b="0" i="0" u="none" strike="noStrike" cap="none">
                <a:solidFill>
                  <a:schemeClr val="dk2"/>
                </a:solidFill>
                <a:latin typeface="Encode Sans"/>
                <a:ea typeface="Encode Sans"/>
                <a:cs typeface="Encode Sans"/>
                <a:sym typeface="Encode Sans"/>
              </a:defRPr>
            </a:lvl5pPr>
            <a:lvl6pPr marL="2743132" marR="0" lvl="5" indent="-317492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000" b="0" i="0" u="none" strike="noStrike" cap="none">
                <a:solidFill>
                  <a:schemeClr val="dk1"/>
                </a:solidFill>
                <a:latin typeface="Encode Sans"/>
                <a:ea typeface="Encode Sans"/>
                <a:cs typeface="Encode Sans"/>
                <a:sym typeface="Encode Sans"/>
              </a:defRPr>
            </a:lvl6pPr>
            <a:lvl7pPr marL="3200320" marR="0" lvl="6" indent="-317492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000" b="0" i="0" u="none" strike="noStrike" cap="none">
                <a:solidFill>
                  <a:schemeClr val="dk1"/>
                </a:solidFill>
                <a:latin typeface="Encode Sans"/>
                <a:ea typeface="Encode Sans"/>
                <a:cs typeface="Encode Sans"/>
                <a:sym typeface="Encode Sans"/>
              </a:defRPr>
            </a:lvl7pPr>
            <a:lvl8pPr marL="3657509" marR="0" lvl="7" indent="-317492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000" b="0" i="0" u="none" strike="noStrike" cap="none">
                <a:solidFill>
                  <a:schemeClr val="dk1"/>
                </a:solidFill>
                <a:latin typeface="Encode Sans"/>
                <a:ea typeface="Encode Sans"/>
                <a:cs typeface="Encode Sans"/>
                <a:sym typeface="Encode Sans"/>
              </a:defRPr>
            </a:lvl8pPr>
            <a:lvl9pPr marL="4114697" marR="0" lvl="8" indent="-317492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000" b="0" i="0" u="none" strike="noStrike" cap="none">
                <a:solidFill>
                  <a:schemeClr val="dk1"/>
                </a:solidFill>
                <a:latin typeface="Encode Sans"/>
                <a:ea typeface="Encode Sans"/>
                <a:cs typeface="Encode Sans"/>
                <a:sym typeface="Encode Sans"/>
              </a:defRPr>
            </a:lvl9pPr>
          </a:lstStyle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243782"/>
              </a:buClr>
              <a:buSzPts val="1500"/>
              <a:buFont typeface="Arial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243782"/>
                </a:solidFill>
                <a:effectLst/>
                <a:uLnTx/>
                <a:uFillTx/>
                <a:latin typeface="+mj-lt"/>
                <a:sym typeface="Encode Sans"/>
              </a:rPr>
              <a:t>Image</a:t>
            </a:r>
          </a:p>
        </p:txBody>
      </p:sp>
      <p:sp>
        <p:nvSpPr>
          <p:cNvPr id="29" name="Google Shape;244;p34">
            <a:extLst>
              <a:ext uri="{FF2B5EF4-FFF2-40B4-BE49-F238E27FC236}">
                <a16:creationId xmlns:a16="http://schemas.microsoft.com/office/drawing/2014/main" id="{464A122F-17F3-6AC2-D52F-B1EEEAC68DD8}"/>
              </a:ext>
            </a:extLst>
          </p:cNvPr>
          <p:cNvSpPr txBox="1">
            <a:spLocks/>
          </p:cNvSpPr>
          <p:nvPr/>
        </p:nvSpPr>
        <p:spPr>
          <a:xfrm>
            <a:off x="6237598" y="5405940"/>
            <a:ext cx="549087" cy="55664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189" marR="0" lvl="0" indent="-22859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600"/>
              <a:buFont typeface="Arial"/>
              <a:buNone/>
              <a:defRPr sz="1400" b="1" i="0" u="none" strike="noStrike" cap="none">
                <a:solidFill>
                  <a:schemeClr val="dk2"/>
                </a:solidFill>
                <a:latin typeface="Encode Sans"/>
                <a:ea typeface="Encode Sans"/>
                <a:cs typeface="Encode Sans"/>
                <a:sym typeface="Encode Sans"/>
              </a:defRPr>
            </a:lvl1pPr>
            <a:lvl2pPr marL="914378" marR="0" lvl="1" indent="-330192" algn="l" rtl="0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2"/>
              </a:buClr>
              <a:buSzPts val="1600"/>
              <a:buFont typeface="Arial"/>
              <a:buChar char="•"/>
              <a:defRPr sz="1400" b="0" i="0" u="none" strike="noStrike" cap="none">
                <a:solidFill>
                  <a:schemeClr val="dk2"/>
                </a:solidFill>
                <a:latin typeface="Encode Sans"/>
                <a:ea typeface="Encode Sans"/>
                <a:cs typeface="Encode Sans"/>
                <a:sym typeface="Encode Sans"/>
              </a:defRPr>
            </a:lvl2pPr>
            <a:lvl3pPr marL="1371566" marR="0" lvl="2" indent="-228594" algn="l" rtl="0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2"/>
              </a:buClr>
              <a:buSzPts val="1800"/>
              <a:buFont typeface="Encode Sans"/>
              <a:buNone/>
              <a:defRPr sz="1100" b="0" i="0" u="none" strike="noStrike" cap="none">
                <a:solidFill>
                  <a:schemeClr val="dk2"/>
                </a:solidFill>
                <a:latin typeface="Encode Sans"/>
                <a:ea typeface="Encode Sans"/>
                <a:cs typeface="Encode Sans"/>
                <a:sym typeface="Encode Sans"/>
              </a:defRPr>
            </a:lvl3pPr>
            <a:lvl4pPr marL="1828754" marR="0" lvl="3" indent="-228594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2"/>
              </a:buClr>
              <a:buSzPts val="1500"/>
              <a:buFont typeface="Encode Sans"/>
              <a:buNone/>
              <a:defRPr sz="1000" b="1" i="0" u="none" strike="noStrike" cap="none">
                <a:solidFill>
                  <a:schemeClr val="dk2"/>
                </a:solidFill>
                <a:latin typeface="Encode Sans"/>
                <a:ea typeface="Encode Sans"/>
                <a:cs typeface="Encode Sans"/>
                <a:sym typeface="Encode Sans"/>
              </a:defRPr>
            </a:lvl4pPr>
            <a:lvl5pPr marL="2285943" marR="0" lvl="4" indent="-323842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2"/>
              </a:buClr>
              <a:buSzPts val="1500"/>
              <a:buFont typeface="Arial"/>
              <a:buChar char="•"/>
              <a:defRPr sz="1000" b="0" i="0" u="none" strike="noStrike" cap="none">
                <a:solidFill>
                  <a:schemeClr val="dk2"/>
                </a:solidFill>
                <a:latin typeface="Encode Sans"/>
                <a:ea typeface="Encode Sans"/>
                <a:cs typeface="Encode Sans"/>
                <a:sym typeface="Encode Sans"/>
              </a:defRPr>
            </a:lvl5pPr>
            <a:lvl6pPr marL="2743132" marR="0" lvl="5" indent="-317492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000" b="0" i="0" u="none" strike="noStrike" cap="none">
                <a:solidFill>
                  <a:schemeClr val="dk1"/>
                </a:solidFill>
                <a:latin typeface="Encode Sans"/>
                <a:ea typeface="Encode Sans"/>
                <a:cs typeface="Encode Sans"/>
                <a:sym typeface="Encode Sans"/>
              </a:defRPr>
            </a:lvl6pPr>
            <a:lvl7pPr marL="3200320" marR="0" lvl="6" indent="-317492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000" b="0" i="0" u="none" strike="noStrike" cap="none">
                <a:solidFill>
                  <a:schemeClr val="dk1"/>
                </a:solidFill>
                <a:latin typeface="Encode Sans"/>
                <a:ea typeface="Encode Sans"/>
                <a:cs typeface="Encode Sans"/>
                <a:sym typeface="Encode Sans"/>
              </a:defRPr>
            </a:lvl7pPr>
            <a:lvl8pPr marL="3657509" marR="0" lvl="7" indent="-317492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000" b="0" i="0" u="none" strike="noStrike" cap="none">
                <a:solidFill>
                  <a:schemeClr val="dk1"/>
                </a:solidFill>
                <a:latin typeface="Encode Sans"/>
                <a:ea typeface="Encode Sans"/>
                <a:cs typeface="Encode Sans"/>
                <a:sym typeface="Encode Sans"/>
              </a:defRPr>
            </a:lvl8pPr>
            <a:lvl9pPr marL="4114697" marR="0" lvl="8" indent="-317492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000" b="0" i="0" u="none" strike="noStrike" cap="none">
                <a:solidFill>
                  <a:schemeClr val="dk1"/>
                </a:solidFill>
                <a:latin typeface="Encode Sans"/>
                <a:ea typeface="Encode Sans"/>
                <a:cs typeface="Encode Sans"/>
                <a:sym typeface="Encode Sans"/>
              </a:defRPr>
            </a:lvl9pPr>
          </a:lstStyle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243782"/>
              </a:buClr>
              <a:buSzPts val="1500"/>
              <a:buFont typeface="Arial"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>
                <a:ln>
                  <a:noFill/>
                </a:ln>
                <a:solidFill>
                  <a:srgbClr val="243782"/>
                </a:solidFill>
                <a:effectLst/>
                <a:uLnTx/>
                <a:uFillTx/>
                <a:latin typeface="+mj-lt"/>
                <a:sym typeface="Encode Sans"/>
              </a:rPr>
              <a:t>T</a:t>
            </a:r>
          </a:p>
        </p:txBody>
      </p:sp>
      <p:sp>
        <p:nvSpPr>
          <p:cNvPr id="30" name="Google Shape;244;p34">
            <a:extLst>
              <a:ext uri="{FF2B5EF4-FFF2-40B4-BE49-F238E27FC236}">
                <a16:creationId xmlns:a16="http://schemas.microsoft.com/office/drawing/2014/main" id="{41781977-04B8-D625-86A4-F119248876EE}"/>
              </a:ext>
            </a:extLst>
          </p:cNvPr>
          <p:cNvSpPr txBox="1">
            <a:spLocks/>
          </p:cNvSpPr>
          <p:nvPr/>
        </p:nvSpPr>
        <p:spPr>
          <a:xfrm>
            <a:off x="7115428" y="5405941"/>
            <a:ext cx="3886936" cy="5566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189" marR="0" lvl="0" indent="-22859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600"/>
              <a:buFont typeface="Arial"/>
              <a:buNone/>
              <a:defRPr sz="1400" b="1" i="0" u="none" strike="noStrike" cap="none">
                <a:solidFill>
                  <a:schemeClr val="dk2"/>
                </a:solidFill>
                <a:latin typeface="Encode Sans"/>
                <a:ea typeface="Encode Sans"/>
                <a:cs typeface="Encode Sans"/>
                <a:sym typeface="Encode Sans"/>
              </a:defRPr>
            </a:lvl1pPr>
            <a:lvl2pPr marL="914378" marR="0" lvl="1" indent="-330192" algn="l" rtl="0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2"/>
              </a:buClr>
              <a:buSzPts val="1600"/>
              <a:buFont typeface="Arial"/>
              <a:buChar char="•"/>
              <a:defRPr sz="1400" b="0" i="0" u="none" strike="noStrike" cap="none">
                <a:solidFill>
                  <a:schemeClr val="dk2"/>
                </a:solidFill>
                <a:latin typeface="Encode Sans"/>
                <a:ea typeface="Encode Sans"/>
                <a:cs typeface="Encode Sans"/>
                <a:sym typeface="Encode Sans"/>
              </a:defRPr>
            </a:lvl2pPr>
            <a:lvl3pPr marL="1371566" marR="0" lvl="2" indent="-228594" algn="l" rtl="0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2"/>
              </a:buClr>
              <a:buSzPts val="1800"/>
              <a:buFont typeface="Encode Sans"/>
              <a:buNone/>
              <a:defRPr sz="1100" b="0" i="0" u="none" strike="noStrike" cap="none">
                <a:solidFill>
                  <a:schemeClr val="dk2"/>
                </a:solidFill>
                <a:latin typeface="Encode Sans"/>
                <a:ea typeface="Encode Sans"/>
                <a:cs typeface="Encode Sans"/>
                <a:sym typeface="Encode Sans"/>
              </a:defRPr>
            </a:lvl3pPr>
            <a:lvl4pPr marL="1828754" marR="0" lvl="3" indent="-228594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2"/>
              </a:buClr>
              <a:buSzPts val="1500"/>
              <a:buFont typeface="Encode Sans"/>
              <a:buNone/>
              <a:defRPr sz="1000" b="1" i="0" u="none" strike="noStrike" cap="none">
                <a:solidFill>
                  <a:schemeClr val="dk2"/>
                </a:solidFill>
                <a:latin typeface="Encode Sans"/>
                <a:ea typeface="Encode Sans"/>
                <a:cs typeface="Encode Sans"/>
                <a:sym typeface="Encode Sans"/>
              </a:defRPr>
            </a:lvl4pPr>
            <a:lvl5pPr marL="2285943" marR="0" lvl="4" indent="-323842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2"/>
              </a:buClr>
              <a:buSzPts val="1500"/>
              <a:buFont typeface="Arial"/>
              <a:buChar char="•"/>
              <a:defRPr sz="1000" b="0" i="0" u="none" strike="noStrike" cap="none">
                <a:solidFill>
                  <a:schemeClr val="dk2"/>
                </a:solidFill>
                <a:latin typeface="Encode Sans"/>
                <a:ea typeface="Encode Sans"/>
                <a:cs typeface="Encode Sans"/>
                <a:sym typeface="Encode Sans"/>
              </a:defRPr>
            </a:lvl5pPr>
            <a:lvl6pPr marL="2743132" marR="0" lvl="5" indent="-317492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000" b="0" i="0" u="none" strike="noStrike" cap="none">
                <a:solidFill>
                  <a:schemeClr val="dk1"/>
                </a:solidFill>
                <a:latin typeface="Encode Sans"/>
                <a:ea typeface="Encode Sans"/>
                <a:cs typeface="Encode Sans"/>
                <a:sym typeface="Encode Sans"/>
              </a:defRPr>
            </a:lvl6pPr>
            <a:lvl7pPr marL="3200320" marR="0" lvl="6" indent="-317492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000" b="0" i="0" u="none" strike="noStrike" cap="none">
                <a:solidFill>
                  <a:schemeClr val="dk1"/>
                </a:solidFill>
                <a:latin typeface="Encode Sans"/>
                <a:ea typeface="Encode Sans"/>
                <a:cs typeface="Encode Sans"/>
                <a:sym typeface="Encode Sans"/>
              </a:defRPr>
            </a:lvl7pPr>
            <a:lvl8pPr marL="3657509" marR="0" lvl="7" indent="-317492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000" b="0" i="0" u="none" strike="noStrike" cap="none">
                <a:solidFill>
                  <a:schemeClr val="dk1"/>
                </a:solidFill>
                <a:latin typeface="Encode Sans"/>
                <a:ea typeface="Encode Sans"/>
                <a:cs typeface="Encode Sans"/>
                <a:sym typeface="Encode Sans"/>
              </a:defRPr>
            </a:lvl8pPr>
            <a:lvl9pPr marL="4114697" marR="0" lvl="8" indent="-317492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000" b="0" i="0" u="none" strike="noStrike" cap="none">
                <a:solidFill>
                  <a:schemeClr val="dk1"/>
                </a:solidFill>
                <a:latin typeface="Encode Sans"/>
                <a:ea typeface="Encode Sans"/>
                <a:cs typeface="Encode Sans"/>
                <a:sym typeface="Encode Sans"/>
              </a:defRPr>
            </a:lvl9pPr>
          </a:lstStyle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243782"/>
              </a:buClr>
              <a:buSzPts val="1500"/>
              <a:buFont typeface="Arial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243782"/>
                </a:solidFill>
                <a:effectLst/>
                <a:uLnTx/>
                <a:uFillTx/>
                <a:latin typeface="+mj-lt"/>
                <a:sym typeface="Encode Sans"/>
              </a:rPr>
              <a:t>Technology</a:t>
            </a:r>
          </a:p>
        </p:txBody>
      </p:sp>
      <p:grpSp>
        <p:nvGrpSpPr>
          <p:cNvPr id="31" name="Group 30">
            <a:extLst>
              <a:ext uri="{FF2B5EF4-FFF2-40B4-BE49-F238E27FC236}">
                <a16:creationId xmlns:a16="http://schemas.microsoft.com/office/drawing/2014/main" id="{48FA8F64-F1B4-350E-C8F3-1F4908353049}"/>
              </a:ext>
            </a:extLst>
          </p:cNvPr>
          <p:cNvGrpSpPr/>
          <p:nvPr/>
        </p:nvGrpSpPr>
        <p:grpSpPr>
          <a:xfrm>
            <a:off x="5373864" y="1546760"/>
            <a:ext cx="549087" cy="556640"/>
            <a:chOff x="612884" y="1053600"/>
            <a:chExt cx="549087" cy="556640"/>
          </a:xfrm>
        </p:grpSpPr>
        <p:grpSp>
          <p:nvGrpSpPr>
            <p:cNvPr id="32" name="Group 31">
              <a:extLst>
                <a:ext uri="{FF2B5EF4-FFF2-40B4-BE49-F238E27FC236}">
                  <a16:creationId xmlns:a16="http://schemas.microsoft.com/office/drawing/2014/main" id="{A9D1D2F4-00DC-A54A-CD09-73E48A39BEF8}"/>
                </a:ext>
              </a:extLst>
            </p:cNvPr>
            <p:cNvGrpSpPr/>
            <p:nvPr/>
          </p:nvGrpSpPr>
          <p:grpSpPr>
            <a:xfrm>
              <a:off x="612884" y="1053600"/>
              <a:ext cx="549087" cy="556640"/>
              <a:chOff x="612888" y="1011276"/>
              <a:chExt cx="549087" cy="556640"/>
            </a:xfrm>
          </p:grpSpPr>
          <p:pic>
            <p:nvPicPr>
              <p:cNvPr id="34" name="Picture 33" descr="C:\Users\aschwartzenberger\Documents\ATS\CHRYSLER INTERNATIONAL\Chrysler PRGs\ICONS\safety.png">
                <a:extLst>
                  <a:ext uri="{FF2B5EF4-FFF2-40B4-BE49-F238E27FC236}">
                    <a16:creationId xmlns:a16="http://schemas.microsoft.com/office/drawing/2014/main" id="{BC23037C-A4C6-9BFD-6750-582D05B85B6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 cstate="print">
                <a:duotone>
                  <a:srgbClr val="243782">
                    <a:shade val="45000"/>
                    <a:satMod val="135000"/>
                  </a:srgb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612888" y="1011276"/>
                <a:ext cx="549087" cy="556640"/>
              </a:xfrm>
              <a:prstGeom prst="rect">
                <a:avLst/>
              </a:prstGeom>
              <a:noFill/>
            </p:spPr>
          </p:pic>
          <p:sp>
            <p:nvSpPr>
              <p:cNvPr id="35" name="Oval 34">
                <a:extLst>
                  <a:ext uri="{FF2B5EF4-FFF2-40B4-BE49-F238E27FC236}">
                    <a16:creationId xmlns:a16="http://schemas.microsoft.com/office/drawing/2014/main" id="{7FC9FAC8-24E2-51B6-96C8-441341F5751A}"/>
                  </a:ext>
                </a:extLst>
              </p:cNvPr>
              <p:cNvSpPr/>
              <p:nvPr/>
            </p:nvSpPr>
            <p:spPr>
              <a:xfrm>
                <a:off x="654757" y="1068681"/>
                <a:ext cx="470369" cy="433569"/>
              </a:xfrm>
              <a:prstGeom prst="ellipse">
                <a:avLst/>
              </a:prstGeom>
              <a:solidFill>
                <a:srgbClr val="293878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ar-AE" err="1">
                  <a:solidFill>
                    <a:schemeClr val="tx1"/>
                  </a:solidFill>
                </a:endParaRPr>
              </a:p>
            </p:txBody>
          </p:sp>
        </p:grpSp>
        <p:pic>
          <p:nvPicPr>
            <p:cNvPr id="33" name="Graphic 32" descr="Seat Belt with solid fill">
              <a:extLst>
                <a:ext uri="{FF2B5EF4-FFF2-40B4-BE49-F238E27FC236}">
                  <a16:creationId xmlns:a16="http://schemas.microsoft.com/office/drawing/2014/main" id="{92649B51-55B6-80CA-89BB-4225D2345854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705021" y="1136511"/>
              <a:ext cx="379279" cy="379279"/>
            </a:xfrm>
            <a:prstGeom prst="rect">
              <a:avLst/>
            </a:prstGeom>
          </p:spPr>
        </p:pic>
      </p:grpSp>
      <p:grpSp>
        <p:nvGrpSpPr>
          <p:cNvPr id="36" name="Group 35">
            <a:extLst>
              <a:ext uri="{FF2B5EF4-FFF2-40B4-BE49-F238E27FC236}">
                <a16:creationId xmlns:a16="http://schemas.microsoft.com/office/drawing/2014/main" id="{417CAD3F-F929-8403-01C1-423565B49705}"/>
              </a:ext>
            </a:extLst>
          </p:cNvPr>
          <p:cNvGrpSpPr/>
          <p:nvPr/>
        </p:nvGrpSpPr>
        <p:grpSpPr>
          <a:xfrm>
            <a:off x="5373866" y="2327004"/>
            <a:ext cx="549087" cy="556640"/>
            <a:chOff x="612886" y="1833844"/>
            <a:chExt cx="549087" cy="556640"/>
          </a:xfrm>
        </p:grpSpPr>
        <p:grpSp>
          <p:nvGrpSpPr>
            <p:cNvPr id="37" name="Group 36">
              <a:extLst>
                <a:ext uri="{FF2B5EF4-FFF2-40B4-BE49-F238E27FC236}">
                  <a16:creationId xmlns:a16="http://schemas.microsoft.com/office/drawing/2014/main" id="{FB33F05D-1436-D5D1-B144-1DECF38DFB89}"/>
                </a:ext>
              </a:extLst>
            </p:cNvPr>
            <p:cNvGrpSpPr/>
            <p:nvPr/>
          </p:nvGrpSpPr>
          <p:grpSpPr>
            <a:xfrm>
              <a:off x="612886" y="1833844"/>
              <a:ext cx="549087" cy="556640"/>
              <a:chOff x="612888" y="1011276"/>
              <a:chExt cx="549087" cy="556640"/>
            </a:xfrm>
          </p:grpSpPr>
          <p:pic>
            <p:nvPicPr>
              <p:cNvPr id="39" name="Picture 38" descr="C:\Users\aschwartzenberger\Documents\ATS\CHRYSLER INTERNATIONAL\Chrysler PRGs\ICONS\safety.png">
                <a:extLst>
                  <a:ext uri="{FF2B5EF4-FFF2-40B4-BE49-F238E27FC236}">
                    <a16:creationId xmlns:a16="http://schemas.microsoft.com/office/drawing/2014/main" id="{4C6BCC05-E63C-D437-0C0E-9AFCB751F1E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 cstate="print">
                <a:duotone>
                  <a:srgbClr val="243782">
                    <a:shade val="45000"/>
                    <a:satMod val="135000"/>
                  </a:srgb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612888" y="1011276"/>
                <a:ext cx="549087" cy="556640"/>
              </a:xfrm>
              <a:prstGeom prst="rect">
                <a:avLst/>
              </a:prstGeom>
              <a:noFill/>
            </p:spPr>
          </p:pic>
          <p:sp>
            <p:nvSpPr>
              <p:cNvPr id="40" name="Oval 39">
                <a:extLst>
                  <a:ext uri="{FF2B5EF4-FFF2-40B4-BE49-F238E27FC236}">
                    <a16:creationId xmlns:a16="http://schemas.microsoft.com/office/drawing/2014/main" id="{F16A8553-A776-AB92-B7BE-EA2DDB097A62}"/>
                  </a:ext>
                </a:extLst>
              </p:cNvPr>
              <p:cNvSpPr/>
              <p:nvPr/>
            </p:nvSpPr>
            <p:spPr>
              <a:xfrm>
                <a:off x="654757" y="1068681"/>
                <a:ext cx="470369" cy="433569"/>
              </a:xfrm>
              <a:prstGeom prst="ellipse">
                <a:avLst/>
              </a:prstGeom>
              <a:solidFill>
                <a:srgbClr val="293878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ar-AE" err="1">
                  <a:solidFill>
                    <a:schemeClr val="tx1"/>
                  </a:solidFill>
                </a:endParaRPr>
              </a:p>
            </p:txBody>
          </p:sp>
        </p:grpSp>
        <p:pic>
          <p:nvPicPr>
            <p:cNvPr id="38" name="Graphic 37" descr="Gauge with solid fill">
              <a:extLst>
                <a:ext uri="{FF2B5EF4-FFF2-40B4-BE49-F238E27FC236}">
                  <a16:creationId xmlns:a16="http://schemas.microsoft.com/office/drawing/2014/main" id="{6637A82F-FE0C-1CD7-B82B-C82C79E6BE0C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694738" y="1885524"/>
              <a:ext cx="397951" cy="397951"/>
            </a:xfrm>
            <a:prstGeom prst="rect">
              <a:avLst/>
            </a:prstGeom>
          </p:spPr>
        </p:pic>
      </p:grpSp>
      <p:grpSp>
        <p:nvGrpSpPr>
          <p:cNvPr id="41" name="Group 40">
            <a:extLst>
              <a:ext uri="{FF2B5EF4-FFF2-40B4-BE49-F238E27FC236}">
                <a16:creationId xmlns:a16="http://schemas.microsoft.com/office/drawing/2014/main" id="{A60CCE43-AC6A-26AB-13BB-EB330DB46AE5}"/>
              </a:ext>
            </a:extLst>
          </p:cNvPr>
          <p:cNvGrpSpPr/>
          <p:nvPr/>
        </p:nvGrpSpPr>
        <p:grpSpPr>
          <a:xfrm>
            <a:off x="5373864" y="3107237"/>
            <a:ext cx="549087" cy="556640"/>
            <a:chOff x="612884" y="2614077"/>
            <a:chExt cx="549087" cy="556640"/>
          </a:xfrm>
        </p:grpSpPr>
        <p:grpSp>
          <p:nvGrpSpPr>
            <p:cNvPr id="42" name="Group 41">
              <a:extLst>
                <a:ext uri="{FF2B5EF4-FFF2-40B4-BE49-F238E27FC236}">
                  <a16:creationId xmlns:a16="http://schemas.microsoft.com/office/drawing/2014/main" id="{526ED648-5F0B-E69A-1C41-905920A70551}"/>
                </a:ext>
              </a:extLst>
            </p:cNvPr>
            <p:cNvGrpSpPr/>
            <p:nvPr/>
          </p:nvGrpSpPr>
          <p:grpSpPr>
            <a:xfrm>
              <a:off x="612884" y="2614077"/>
              <a:ext cx="549087" cy="556640"/>
              <a:chOff x="612888" y="1011276"/>
              <a:chExt cx="549087" cy="556640"/>
            </a:xfrm>
          </p:grpSpPr>
          <p:pic>
            <p:nvPicPr>
              <p:cNvPr id="44" name="Picture 43" descr="C:\Users\aschwartzenberger\Documents\ATS\CHRYSLER INTERNATIONAL\Chrysler PRGs\ICONS\safety.png">
                <a:extLst>
                  <a:ext uri="{FF2B5EF4-FFF2-40B4-BE49-F238E27FC236}">
                    <a16:creationId xmlns:a16="http://schemas.microsoft.com/office/drawing/2014/main" id="{9A205B98-A467-6713-F543-32209D33BE7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 cstate="print">
                <a:duotone>
                  <a:srgbClr val="243782">
                    <a:shade val="45000"/>
                    <a:satMod val="135000"/>
                  </a:srgb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612888" y="1011276"/>
                <a:ext cx="549087" cy="556640"/>
              </a:xfrm>
              <a:prstGeom prst="rect">
                <a:avLst/>
              </a:prstGeom>
              <a:noFill/>
            </p:spPr>
          </p:pic>
          <p:sp>
            <p:nvSpPr>
              <p:cNvPr id="45" name="Oval 44">
                <a:extLst>
                  <a:ext uri="{FF2B5EF4-FFF2-40B4-BE49-F238E27FC236}">
                    <a16:creationId xmlns:a16="http://schemas.microsoft.com/office/drawing/2014/main" id="{BBEEFD14-CA0F-E67A-6249-274CE2A46CCD}"/>
                  </a:ext>
                </a:extLst>
              </p:cNvPr>
              <p:cNvSpPr/>
              <p:nvPr/>
            </p:nvSpPr>
            <p:spPr>
              <a:xfrm>
                <a:off x="654757" y="1068681"/>
                <a:ext cx="470369" cy="433569"/>
              </a:xfrm>
              <a:prstGeom prst="ellipse">
                <a:avLst/>
              </a:prstGeom>
              <a:solidFill>
                <a:srgbClr val="293878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ar-AE" err="1">
                  <a:solidFill>
                    <a:schemeClr val="tx1"/>
                  </a:solidFill>
                </a:endParaRPr>
              </a:p>
            </p:txBody>
          </p:sp>
        </p:grpSp>
        <p:pic>
          <p:nvPicPr>
            <p:cNvPr id="43" name="Graphic 42" descr="Money with solid fill">
              <a:extLst>
                <a:ext uri="{FF2B5EF4-FFF2-40B4-BE49-F238E27FC236}">
                  <a16:creationId xmlns:a16="http://schemas.microsoft.com/office/drawing/2014/main" id="{BED2232B-4359-7959-0F2F-88039F474F6A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694738" y="2679871"/>
              <a:ext cx="379067" cy="379067"/>
            </a:xfrm>
            <a:prstGeom prst="rect">
              <a:avLst/>
            </a:prstGeom>
          </p:spPr>
        </p:pic>
      </p:grpSp>
      <p:grpSp>
        <p:nvGrpSpPr>
          <p:cNvPr id="46" name="Group 45">
            <a:extLst>
              <a:ext uri="{FF2B5EF4-FFF2-40B4-BE49-F238E27FC236}">
                <a16:creationId xmlns:a16="http://schemas.microsoft.com/office/drawing/2014/main" id="{E134C217-3401-428B-3907-8B6E73925FB4}"/>
              </a:ext>
            </a:extLst>
          </p:cNvPr>
          <p:cNvGrpSpPr/>
          <p:nvPr/>
        </p:nvGrpSpPr>
        <p:grpSpPr>
          <a:xfrm>
            <a:off x="5374916" y="3887809"/>
            <a:ext cx="549087" cy="556640"/>
            <a:chOff x="617610" y="4174560"/>
            <a:chExt cx="549087" cy="556640"/>
          </a:xfrm>
        </p:grpSpPr>
        <p:grpSp>
          <p:nvGrpSpPr>
            <p:cNvPr id="47" name="Group 46">
              <a:extLst>
                <a:ext uri="{FF2B5EF4-FFF2-40B4-BE49-F238E27FC236}">
                  <a16:creationId xmlns:a16="http://schemas.microsoft.com/office/drawing/2014/main" id="{508FF942-3B6B-06F5-A7D8-FDAB43B1336C}"/>
                </a:ext>
              </a:extLst>
            </p:cNvPr>
            <p:cNvGrpSpPr/>
            <p:nvPr/>
          </p:nvGrpSpPr>
          <p:grpSpPr>
            <a:xfrm>
              <a:off x="617610" y="4174560"/>
              <a:ext cx="549087" cy="556640"/>
              <a:chOff x="612888" y="1011276"/>
              <a:chExt cx="549087" cy="556640"/>
            </a:xfrm>
          </p:grpSpPr>
          <p:pic>
            <p:nvPicPr>
              <p:cNvPr id="49" name="Picture 48" descr="C:\Users\aschwartzenberger\Documents\ATS\CHRYSLER INTERNATIONAL\Chrysler PRGs\ICONS\safety.png">
                <a:extLst>
                  <a:ext uri="{FF2B5EF4-FFF2-40B4-BE49-F238E27FC236}">
                    <a16:creationId xmlns:a16="http://schemas.microsoft.com/office/drawing/2014/main" id="{837D4950-8708-E342-F73E-5C39E492E94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 cstate="print">
                <a:duotone>
                  <a:srgbClr val="243782">
                    <a:shade val="45000"/>
                    <a:satMod val="135000"/>
                  </a:srgb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612888" y="1011276"/>
                <a:ext cx="549087" cy="556640"/>
              </a:xfrm>
              <a:prstGeom prst="rect">
                <a:avLst/>
              </a:prstGeom>
              <a:noFill/>
            </p:spPr>
          </p:pic>
          <p:sp>
            <p:nvSpPr>
              <p:cNvPr id="50" name="Oval 49">
                <a:extLst>
                  <a:ext uri="{FF2B5EF4-FFF2-40B4-BE49-F238E27FC236}">
                    <a16:creationId xmlns:a16="http://schemas.microsoft.com/office/drawing/2014/main" id="{C672677B-16F5-0C7A-E41F-2AD647CCA5B6}"/>
                  </a:ext>
                </a:extLst>
              </p:cNvPr>
              <p:cNvSpPr/>
              <p:nvPr/>
            </p:nvSpPr>
            <p:spPr>
              <a:xfrm>
                <a:off x="654757" y="1068681"/>
                <a:ext cx="470369" cy="433569"/>
              </a:xfrm>
              <a:prstGeom prst="ellipse">
                <a:avLst/>
              </a:prstGeom>
              <a:solidFill>
                <a:srgbClr val="293878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ar-AE" err="1">
                  <a:solidFill>
                    <a:schemeClr val="tx1"/>
                  </a:solidFill>
                </a:endParaRPr>
              </a:p>
            </p:txBody>
          </p:sp>
        </p:grpSp>
        <p:pic>
          <p:nvPicPr>
            <p:cNvPr id="48" name="Graphic 47" descr="Thumbs up sign with solid fill">
              <a:extLst>
                <a:ext uri="{FF2B5EF4-FFF2-40B4-BE49-F238E27FC236}">
                  <a16:creationId xmlns:a16="http://schemas.microsoft.com/office/drawing/2014/main" id="{4ED28FDF-006C-941F-962C-7EF68037413F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>
              <a:off x="732306" y="4276946"/>
              <a:ext cx="343605" cy="343605"/>
            </a:xfrm>
            <a:prstGeom prst="rect">
              <a:avLst/>
            </a:prstGeom>
          </p:spPr>
        </p:pic>
      </p:grpSp>
      <p:grpSp>
        <p:nvGrpSpPr>
          <p:cNvPr id="51" name="Group 50">
            <a:extLst>
              <a:ext uri="{FF2B5EF4-FFF2-40B4-BE49-F238E27FC236}">
                <a16:creationId xmlns:a16="http://schemas.microsoft.com/office/drawing/2014/main" id="{7CC4FFEF-0674-FAD1-956D-5255557DF241}"/>
              </a:ext>
            </a:extLst>
          </p:cNvPr>
          <p:cNvGrpSpPr/>
          <p:nvPr/>
        </p:nvGrpSpPr>
        <p:grpSpPr>
          <a:xfrm>
            <a:off x="5374914" y="4668042"/>
            <a:ext cx="549087" cy="556640"/>
            <a:chOff x="617608" y="4954793"/>
            <a:chExt cx="549087" cy="556640"/>
          </a:xfrm>
        </p:grpSpPr>
        <p:grpSp>
          <p:nvGrpSpPr>
            <p:cNvPr id="52" name="Group 51">
              <a:extLst>
                <a:ext uri="{FF2B5EF4-FFF2-40B4-BE49-F238E27FC236}">
                  <a16:creationId xmlns:a16="http://schemas.microsoft.com/office/drawing/2014/main" id="{B6A3DA69-B0CF-93AD-A073-50C2F8201C79}"/>
                </a:ext>
              </a:extLst>
            </p:cNvPr>
            <p:cNvGrpSpPr/>
            <p:nvPr/>
          </p:nvGrpSpPr>
          <p:grpSpPr>
            <a:xfrm>
              <a:off x="617608" y="4954793"/>
              <a:ext cx="549087" cy="556640"/>
              <a:chOff x="612888" y="1011276"/>
              <a:chExt cx="549087" cy="556640"/>
            </a:xfrm>
          </p:grpSpPr>
          <p:pic>
            <p:nvPicPr>
              <p:cNvPr id="54" name="Picture 53" descr="C:\Users\aschwartzenberger\Documents\ATS\CHRYSLER INTERNATIONAL\Chrysler PRGs\ICONS\safety.png">
                <a:extLst>
                  <a:ext uri="{FF2B5EF4-FFF2-40B4-BE49-F238E27FC236}">
                    <a16:creationId xmlns:a16="http://schemas.microsoft.com/office/drawing/2014/main" id="{4AFE44E8-BDF3-0D19-E342-8D176E9AA44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 cstate="print">
                <a:duotone>
                  <a:srgbClr val="243782">
                    <a:shade val="45000"/>
                    <a:satMod val="135000"/>
                  </a:srgb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612888" y="1011276"/>
                <a:ext cx="549087" cy="556640"/>
              </a:xfrm>
              <a:prstGeom prst="rect">
                <a:avLst/>
              </a:prstGeom>
              <a:noFill/>
            </p:spPr>
          </p:pic>
          <p:sp>
            <p:nvSpPr>
              <p:cNvPr id="55" name="Oval 54">
                <a:extLst>
                  <a:ext uri="{FF2B5EF4-FFF2-40B4-BE49-F238E27FC236}">
                    <a16:creationId xmlns:a16="http://schemas.microsoft.com/office/drawing/2014/main" id="{A6DD586A-C5D8-9808-EF75-3985F4659648}"/>
                  </a:ext>
                </a:extLst>
              </p:cNvPr>
              <p:cNvSpPr/>
              <p:nvPr/>
            </p:nvSpPr>
            <p:spPr>
              <a:xfrm>
                <a:off x="654757" y="1068681"/>
                <a:ext cx="470369" cy="433569"/>
              </a:xfrm>
              <a:prstGeom prst="ellipse">
                <a:avLst/>
              </a:prstGeom>
              <a:solidFill>
                <a:srgbClr val="293878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ar-AE" err="1">
                  <a:solidFill>
                    <a:schemeClr val="tx1"/>
                  </a:solidFill>
                </a:endParaRPr>
              </a:p>
            </p:txBody>
          </p:sp>
        </p:grpSp>
        <p:pic>
          <p:nvPicPr>
            <p:cNvPr id="53" name="Graphic 52" descr="Convertible with solid fill">
              <a:extLst>
                <a:ext uri="{FF2B5EF4-FFF2-40B4-BE49-F238E27FC236}">
                  <a16:creationId xmlns:a16="http://schemas.microsoft.com/office/drawing/2014/main" id="{83157EF9-B6CF-D099-A803-D549AB74EEC6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5"/>
                </a:ext>
              </a:extLst>
            </a:blip>
            <a:stretch>
              <a:fillRect/>
            </a:stretch>
          </p:blipFill>
          <p:spPr>
            <a:xfrm>
              <a:off x="704411" y="5057488"/>
              <a:ext cx="379889" cy="379889"/>
            </a:xfrm>
            <a:prstGeom prst="rect">
              <a:avLst/>
            </a:prstGeom>
          </p:spPr>
        </p:pic>
      </p:grpSp>
      <p:grpSp>
        <p:nvGrpSpPr>
          <p:cNvPr id="56" name="Group 55">
            <a:extLst>
              <a:ext uri="{FF2B5EF4-FFF2-40B4-BE49-F238E27FC236}">
                <a16:creationId xmlns:a16="http://schemas.microsoft.com/office/drawing/2014/main" id="{16F33BE6-43BD-8AFE-AA7B-EA037815825F}"/>
              </a:ext>
            </a:extLst>
          </p:cNvPr>
          <p:cNvGrpSpPr/>
          <p:nvPr/>
        </p:nvGrpSpPr>
        <p:grpSpPr>
          <a:xfrm>
            <a:off x="5373864" y="5448276"/>
            <a:ext cx="549087" cy="556640"/>
            <a:chOff x="616558" y="5735027"/>
            <a:chExt cx="549087" cy="556640"/>
          </a:xfrm>
        </p:grpSpPr>
        <p:grpSp>
          <p:nvGrpSpPr>
            <p:cNvPr id="57" name="Group 56">
              <a:extLst>
                <a:ext uri="{FF2B5EF4-FFF2-40B4-BE49-F238E27FC236}">
                  <a16:creationId xmlns:a16="http://schemas.microsoft.com/office/drawing/2014/main" id="{BB06E3AD-4DD2-0A67-20CF-B7DD00824C88}"/>
                </a:ext>
              </a:extLst>
            </p:cNvPr>
            <p:cNvGrpSpPr/>
            <p:nvPr/>
          </p:nvGrpSpPr>
          <p:grpSpPr>
            <a:xfrm>
              <a:off x="616558" y="5735027"/>
              <a:ext cx="549087" cy="556640"/>
              <a:chOff x="612888" y="1011276"/>
              <a:chExt cx="549087" cy="556640"/>
            </a:xfrm>
          </p:grpSpPr>
          <p:pic>
            <p:nvPicPr>
              <p:cNvPr id="59" name="Picture 58" descr="C:\Users\aschwartzenberger\Documents\ATS\CHRYSLER INTERNATIONAL\Chrysler PRGs\ICONS\safety.png">
                <a:extLst>
                  <a:ext uri="{FF2B5EF4-FFF2-40B4-BE49-F238E27FC236}">
                    <a16:creationId xmlns:a16="http://schemas.microsoft.com/office/drawing/2014/main" id="{0E8071DB-A443-406B-E5A1-A34D7FA340D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 cstate="print">
                <a:duotone>
                  <a:srgbClr val="243782">
                    <a:shade val="45000"/>
                    <a:satMod val="135000"/>
                  </a:srgb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612888" y="1011276"/>
                <a:ext cx="549087" cy="556640"/>
              </a:xfrm>
              <a:prstGeom prst="rect">
                <a:avLst/>
              </a:prstGeom>
              <a:noFill/>
            </p:spPr>
          </p:pic>
          <p:sp>
            <p:nvSpPr>
              <p:cNvPr id="60" name="Oval 59">
                <a:extLst>
                  <a:ext uri="{FF2B5EF4-FFF2-40B4-BE49-F238E27FC236}">
                    <a16:creationId xmlns:a16="http://schemas.microsoft.com/office/drawing/2014/main" id="{C50E1399-A0BE-652D-442B-ADC5373AF30A}"/>
                  </a:ext>
                </a:extLst>
              </p:cNvPr>
              <p:cNvSpPr/>
              <p:nvPr/>
            </p:nvSpPr>
            <p:spPr>
              <a:xfrm>
                <a:off x="654757" y="1068681"/>
                <a:ext cx="470369" cy="433569"/>
              </a:xfrm>
              <a:prstGeom prst="ellipse">
                <a:avLst/>
              </a:prstGeom>
              <a:solidFill>
                <a:srgbClr val="293878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ar-AE" err="1">
                  <a:solidFill>
                    <a:schemeClr val="tx1"/>
                  </a:solidFill>
                </a:endParaRPr>
              </a:p>
            </p:txBody>
          </p:sp>
        </p:grpSp>
        <p:pic>
          <p:nvPicPr>
            <p:cNvPr id="58" name="Graphic 57" descr="Wireless with solid fill">
              <a:extLst>
                <a:ext uri="{FF2B5EF4-FFF2-40B4-BE49-F238E27FC236}">
                  <a16:creationId xmlns:a16="http://schemas.microsoft.com/office/drawing/2014/main" id="{856CBC8C-3F3B-5BB7-AA59-66A075A877EE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7"/>
                </a:ext>
              </a:extLst>
            </a:blip>
            <a:stretch>
              <a:fillRect/>
            </a:stretch>
          </p:blipFill>
          <p:spPr>
            <a:xfrm>
              <a:off x="713788" y="5829567"/>
              <a:ext cx="360729" cy="360729"/>
            </a:xfrm>
            <a:prstGeom prst="rect">
              <a:avLst/>
            </a:prstGeom>
          </p:spPr>
        </p:pic>
      </p:grpSp>
      <p:grpSp>
        <p:nvGrpSpPr>
          <p:cNvPr id="61" name="Group 60">
            <a:extLst>
              <a:ext uri="{FF2B5EF4-FFF2-40B4-BE49-F238E27FC236}">
                <a16:creationId xmlns:a16="http://schemas.microsoft.com/office/drawing/2014/main" id="{2EC972A8-8352-8E78-0403-C82F48FEB103}"/>
              </a:ext>
            </a:extLst>
          </p:cNvPr>
          <p:cNvGrpSpPr/>
          <p:nvPr/>
        </p:nvGrpSpPr>
        <p:grpSpPr>
          <a:xfrm>
            <a:off x="539750" y="3634366"/>
            <a:ext cx="3807160" cy="621030"/>
            <a:chOff x="6859137" y="0"/>
            <a:chExt cx="3807160" cy="1242060"/>
          </a:xfrm>
        </p:grpSpPr>
        <p:sp>
          <p:nvSpPr>
            <p:cNvPr id="62" name="Arrow: Chevron 61">
              <a:extLst>
                <a:ext uri="{FF2B5EF4-FFF2-40B4-BE49-F238E27FC236}">
                  <a16:creationId xmlns:a16="http://schemas.microsoft.com/office/drawing/2014/main" id="{C290814C-013B-7E32-45DD-448AF519A162}"/>
                </a:ext>
              </a:extLst>
            </p:cNvPr>
            <p:cNvSpPr/>
            <p:nvPr/>
          </p:nvSpPr>
          <p:spPr>
            <a:xfrm>
              <a:off x="6859137" y="0"/>
              <a:ext cx="3807160" cy="1242060"/>
            </a:xfrm>
            <a:prstGeom prst="chevron">
              <a:avLst/>
            </a:prstGeom>
            <a:solidFill>
              <a:srgbClr val="243782">
                <a:lumMod val="20000"/>
                <a:lumOff val="80000"/>
                <a:alpha val="30000"/>
              </a:srgbClr>
            </a:solidFill>
            <a:ln w="12700" cap="flat" cmpd="sng" algn="ctr">
              <a:solidFill>
                <a:srgbClr val="26397D"/>
              </a:solidFill>
              <a:prstDash val="soli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endParaRPr lang="en-US"/>
            </a:p>
          </p:txBody>
        </p:sp>
        <p:sp>
          <p:nvSpPr>
            <p:cNvPr id="63" name="Arrow: Chevron 4">
              <a:extLst>
                <a:ext uri="{FF2B5EF4-FFF2-40B4-BE49-F238E27FC236}">
                  <a16:creationId xmlns:a16="http://schemas.microsoft.com/office/drawing/2014/main" id="{5A4D64EA-3DE6-5CDE-D17E-CDAE044CEEEC}"/>
                </a:ext>
              </a:extLst>
            </p:cNvPr>
            <p:cNvSpPr txBox="1"/>
            <p:nvPr/>
          </p:nvSpPr>
          <p:spPr>
            <a:xfrm>
              <a:off x="7480167" y="0"/>
              <a:ext cx="2565100" cy="1242060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56007" tIns="18669" rIns="18669" bIns="18669" numCol="1" spcCol="1270" rtlCol="0" anchor="ctr" anchorCtr="0">
              <a:noAutofit/>
            </a:bodyPr>
            <a:lstStyle/>
            <a:p>
              <a:pPr marL="0" marR="0" lvl="0" indent="0" algn="ctr" defTabSz="622300" rtl="0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r>
                <a:rPr lang="en-US" sz="1400" b="0" i="0" u="none" strike="noStrike" kern="1200" cap="none">
                  <a:solidFill>
                    <a:srgbClr val="243782"/>
                  </a:solidFill>
                  <a:latin typeface="+mj-lt"/>
                  <a:ea typeface="+mn-ea"/>
                  <a:cs typeface="+mn-cs"/>
                  <a:sym typeface="Arial"/>
                </a:rPr>
                <a:t>SPECIT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41613991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/>
      <p:bldP spid="20" grpId="0"/>
      <p:bldP spid="21" grpId="0"/>
      <p:bldP spid="22" grpId="0"/>
      <p:bldP spid="23" grpId="0"/>
      <p:bldP spid="24" grpId="0"/>
      <p:bldP spid="25" grpId="0"/>
      <p:bldP spid="26" grpId="0"/>
      <p:bldP spid="27" grpId="0"/>
      <p:bldP spid="28" grpId="0"/>
      <p:bldP spid="29" grpId="0"/>
      <p:bldP spid="30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>
            <a:extLst>
              <a:ext uri="{FF2B5EF4-FFF2-40B4-BE49-F238E27FC236}">
                <a16:creationId xmlns:a16="http://schemas.microsoft.com/office/drawing/2014/main" id="{B1D54BC0-B1BD-4863-A9D4-24EEC2CDFEDC}"/>
              </a:ext>
            </a:extLst>
          </p:cNvPr>
          <p:cNvSpPr txBox="1">
            <a:spLocks/>
          </p:cNvSpPr>
          <p:nvPr/>
        </p:nvSpPr>
        <p:spPr bwMode="gray">
          <a:xfrm>
            <a:off x="526944" y="316696"/>
            <a:ext cx="10888346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2pPr>
            <a:lvl3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3pPr>
            <a:lvl4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4pPr>
            <a:lvl5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5pPr>
            <a:lvl6pPr marL="4572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6pPr>
            <a:lvl7pPr marL="9144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7pPr>
            <a:lvl8pPr marL="13716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8pPr>
            <a:lvl9pPr marL="18288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marL="0" marR="0" lvl="0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275353" algn="l"/>
              </a:tabLst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5BAA"/>
                </a:solidFill>
                <a:effectLst/>
                <a:uLnTx/>
                <a:uFillTx/>
                <a:latin typeface="Arial (Headings)"/>
                <a:ea typeface="+mj-ea"/>
                <a:cs typeface="+mj-cs"/>
              </a:rPr>
              <a:t>THE EXCEPTIONAL TEST DRIVE 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7B8CBA29-4D1D-697E-CB9A-187BA2173DCC}"/>
              </a:ext>
            </a:extLst>
          </p:cNvPr>
          <p:cNvSpPr/>
          <p:nvPr/>
        </p:nvSpPr>
        <p:spPr>
          <a:xfrm>
            <a:off x="526944" y="2609850"/>
            <a:ext cx="7862055" cy="2914650"/>
          </a:xfrm>
          <a:prstGeom prst="rect">
            <a:avLst/>
          </a:prstGeom>
          <a:solidFill>
            <a:srgbClr val="243782">
              <a:alpha val="1200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ar-AE" err="1">
              <a:solidFill>
                <a:schemeClr val="tx1"/>
              </a:solidFill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0FCFBFA9-671E-5D32-89D9-98D27D6E610C}"/>
              </a:ext>
            </a:extLst>
          </p:cNvPr>
          <p:cNvSpPr/>
          <p:nvPr/>
        </p:nvSpPr>
        <p:spPr>
          <a:xfrm>
            <a:off x="526944" y="1652621"/>
            <a:ext cx="7862054" cy="692458"/>
          </a:xfrm>
          <a:prstGeom prst="rect">
            <a:avLst/>
          </a:prstGeom>
          <a:solidFill>
            <a:srgbClr val="24378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ar-AE" err="1">
              <a:solidFill>
                <a:schemeClr val="tx1"/>
              </a:solidFill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590753FD-A926-680E-C0E9-95F67109F994}"/>
              </a:ext>
            </a:extLst>
          </p:cNvPr>
          <p:cNvSpPr txBox="1"/>
          <p:nvPr/>
        </p:nvSpPr>
        <p:spPr>
          <a:xfrm>
            <a:off x="526943" y="1752930"/>
            <a:ext cx="7862053" cy="461665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 algn="ctr"/>
            <a:r>
              <a:rPr lang="en-US" sz="2400" b="1">
                <a:solidFill>
                  <a:schemeClr val="bg1"/>
                </a:solidFill>
              </a:rPr>
              <a:t>Remember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B0346F0B-96C1-BA37-ECE6-76367D788BA3}"/>
              </a:ext>
            </a:extLst>
          </p:cNvPr>
          <p:cNvSpPr txBox="1"/>
          <p:nvPr/>
        </p:nvSpPr>
        <p:spPr>
          <a:xfrm>
            <a:off x="711711" y="2787192"/>
            <a:ext cx="7599378" cy="258532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 defTabSz="913526">
              <a:tabLst>
                <a:tab pos="275353" algn="l"/>
              </a:tabLst>
              <a:defRPr/>
            </a:pPr>
            <a:r>
              <a:rPr lang="en-US" sz="1800" b="1" kern="0" dirty="0">
                <a:solidFill>
                  <a:schemeClr val="tx1">
                    <a:lumMod val="75000"/>
                    <a:lumOff val="25000"/>
                  </a:schemeClr>
                </a:solidFill>
                <a:latin typeface="Arial (Headings)"/>
                <a:cs typeface="Calibri"/>
              </a:rPr>
              <a:t>WHAT NOT TO DO DURING A TEST DRIVE:</a:t>
            </a:r>
          </a:p>
          <a:p>
            <a:pPr lvl="0" defTabSz="913526">
              <a:tabLst>
                <a:tab pos="275353" algn="l"/>
              </a:tabLst>
              <a:defRPr/>
            </a:pPr>
            <a:endParaRPr lang="en-US" sz="1800" kern="0" dirty="0">
              <a:solidFill>
                <a:schemeClr val="tx1">
                  <a:lumMod val="75000"/>
                  <a:lumOff val="25000"/>
                </a:schemeClr>
              </a:solidFill>
              <a:latin typeface="Arial (Headings)"/>
              <a:cs typeface="Calibri"/>
            </a:endParaRPr>
          </a:p>
          <a:p>
            <a:pPr lvl="0" defTabSz="913526">
              <a:tabLst>
                <a:tab pos="275353" algn="l"/>
              </a:tabLst>
              <a:defRPr/>
            </a:pPr>
            <a:r>
              <a:rPr lang="en-US" sz="1800" kern="0" dirty="0">
                <a:solidFill>
                  <a:schemeClr val="tx1">
                    <a:lumMod val="75000"/>
                    <a:lumOff val="25000"/>
                  </a:schemeClr>
                </a:solidFill>
                <a:latin typeface="Arial (Headings)"/>
                <a:cs typeface="Calibri"/>
              </a:rPr>
              <a:t>Not knowing answers to product questions</a:t>
            </a:r>
            <a:br>
              <a:rPr lang="en-US" sz="1800" kern="0" dirty="0">
                <a:solidFill>
                  <a:schemeClr val="tx1">
                    <a:lumMod val="75000"/>
                    <a:lumOff val="25000"/>
                  </a:schemeClr>
                </a:solidFill>
                <a:latin typeface="Arial (Headings)"/>
                <a:cs typeface="Calibri"/>
              </a:rPr>
            </a:br>
            <a:endParaRPr lang="en-US" sz="1800" kern="0" dirty="0">
              <a:solidFill>
                <a:schemeClr val="tx1">
                  <a:lumMod val="75000"/>
                  <a:lumOff val="25000"/>
                </a:schemeClr>
              </a:solidFill>
              <a:latin typeface="Arial (Headings)"/>
              <a:cs typeface="Calibri"/>
            </a:endParaRPr>
          </a:p>
          <a:p>
            <a:pPr lvl="0" defTabSz="913526">
              <a:tabLst>
                <a:tab pos="275353" algn="l"/>
              </a:tabLst>
              <a:defRPr/>
            </a:pPr>
            <a:r>
              <a:rPr lang="en-US" sz="1800" kern="0" dirty="0">
                <a:solidFill>
                  <a:schemeClr val="tx1">
                    <a:lumMod val="75000"/>
                    <a:lumOff val="25000"/>
                  </a:schemeClr>
                </a:solidFill>
                <a:latin typeface="Arial (Headings)"/>
                <a:cs typeface="Calibri"/>
              </a:rPr>
              <a:t>Rushing through the test drive</a:t>
            </a:r>
            <a:br>
              <a:rPr lang="en-US" sz="1800" kern="0" dirty="0">
                <a:solidFill>
                  <a:schemeClr val="tx1">
                    <a:lumMod val="75000"/>
                    <a:lumOff val="25000"/>
                  </a:schemeClr>
                </a:solidFill>
                <a:latin typeface="Arial (Headings)"/>
                <a:cs typeface="Calibri"/>
              </a:rPr>
            </a:br>
            <a:endParaRPr lang="en-US" sz="1800" kern="0" dirty="0">
              <a:solidFill>
                <a:schemeClr val="tx1">
                  <a:lumMod val="75000"/>
                  <a:lumOff val="25000"/>
                </a:schemeClr>
              </a:solidFill>
              <a:latin typeface="Arial (Headings)"/>
              <a:cs typeface="Calibri"/>
            </a:endParaRPr>
          </a:p>
          <a:p>
            <a:pPr lvl="0" defTabSz="913526">
              <a:tabLst>
                <a:tab pos="275353" algn="l"/>
              </a:tabLst>
              <a:defRPr/>
            </a:pPr>
            <a:r>
              <a:rPr lang="en-US" sz="1800" kern="0" dirty="0">
                <a:solidFill>
                  <a:schemeClr val="tx1">
                    <a:lumMod val="75000"/>
                    <a:lumOff val="25000"/>
                  </a:schemeClr>
                </a:solidFill>
                <a:latin typeface="Arial (Headings)"/>
                <a:cs typeface="Calibri"/>
              </a:rPr>
              <a:t>Test driving a dirty or imperfect vehicle</a:t>
            </a:r>
            <a:br>
              <a:rPr lang="en-US" sz="1800" kern="0" dirty="0">
                <a:solidFill>
                  <a:schemeClr val="tx1">
                    <a:lumMod val="75000"/>
                    <a:lumOff val="25000"/>
                  </a:schemeClr>
                </a:solidFill>
                <a:latin typeface="Arial (Headings)"/>
                <a:cs typeface="Calibri"/>
              </a:rPr>
            </a:br>
            <a:endParaRPr lang="en-US" sz="1800" kern="0" dirty="0">
              <a:solidFill>
                <a:schemeClr val="tx1">
                  <a:lumMod val="75000"/>
                  <a:lumOff val="25000"/>
                </a:schemeClr>
              </a:solidFill>
              <a:latin typeface="Arial (Headings)"/>
              <a:cs typeface="Calibri"/>
            </a:endParaRPr>
          </a:p>
          <a:p>
            <a:pPr lvl="0" defTabSz="913526">
              <a:tabLst>
                <a:tab pos="275353" algn="l"/>
              </a:tabLst>
              <a:defRPr/>
            </a:pPr>
            <a:r>
              <a:rPr lang="en-US" sz="1800" kern="0" dirty="0">
                <a:solidFill>
                  <a:schemeClr val="tx1">
                    <a:lumMod val="75000"/>
                    <a:lumOff val="25000"/>
                  </a:schemeClr>
                </a:solidFill>
                <a:latin typeface="Arial (Headings)"/>
                <a:cs typeface="Calibri"/>
              </a:rPr>
              <a:t>Talking too much during the test drive</a:t>
            </a:r>
          </a:p>
        </p:txBody>
      </p:sp>
      <p:pic>
        <p:nvPicPr>
          <p:cNvPr id="12" name="Graphic 11" descr="Lightbulb with solid fill">
            <a:extLst>
              <a:ext uri="{FF2B5EF4-FFF2-40B4-BE49-F238E27FC236}">
                <a16:creationId xmlns:a16="http://schemas.microsoft.com/office/drawing/2014/main" id="{B826301D-6BC1-B5E3-0DB0-12AF40FF9444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8498566" y="1652621"/>
            <a:ext cx="3871879" cy="3871879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91184854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>
            <a:extLst>
              <a:ext uri="{FF2B5EF4-FFF2-40B4-BE49-F238E27FC236}">
                <a16:creationId xmlns:a16="http://schemas.microsoft.com/office/drawing/2014/main" id="{B1D54BC0-B1BD-4863-A9D4-24EEC2CDFEDC}"/>
              </a:ext>
            </a:extLst>
          </p:cNvPr>
          <p:cNvSpPr txBox="1">
            <a:spLocks/>
          </p:cNvSpPr>
          <p:nvPr/>
        </p:nvSpPr>
        <p:spPr bwMode="gray">
          <a:xfrm>
            <a:off x="526944" y="316696"/>
            <a:ext cx="10888346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2pPr>
            <a:lvl3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3pPr>
            <a:lvl4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4pPr>
            <a:lvl5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5pPr>
            <a:lvl6pPr marL="4572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6pPr>
            <a:lvl7pPr marL="9144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7pPr>
            <a:lvl8pPr marL="13716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8pPr>
            <a:lvl9pPr marL="18288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marL="0" marR="0" lvl="0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275353" algn="l"/>
              </a:tabLst>
              <a:defRPr/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rgbClr val="005BAA"/>
                </a:solidFill>
                <a:effectLst/>
                <a:uLnTx/>
                <a:uFillTx/>
                <a:latin typeface="Arial (Headings)"/>
                <a:ea typeface="+mj-ea"/>
                <a:cs typeface="+mj-cs"/>
              </a:rPr>
              <a:t>THE EXCEPTIONAL TEST DRIVE </a:t>
            </a: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2110808A-C4A3-444E-0085-F85036D4E976}"/>
              </a:ext>
            </a:extLst>
          </p:cNvPr>
          <p:cNvSpPr txBox="1">
            <a:spLocks/>
          </p:cNvSpPr>
          <p:nvPr/>
        </p:nvSpPr>
        <p:spPr bwMode="gray">
          <a:xfrm>
            <a:off x="526944" y="1245323"/>
            <a:ext cx="4721331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2pPr>
            <a:lvl3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3pPr>
            <a:lvl4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4pPr>
            <a:lvl5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5pPr>
            <a:lvl6pPr marL="4572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6pPr>
            <a:lvl7pPr marL="9144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7pPr>
            <a:lvl8pPr marL="13716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8pPr>
            <a:lvl9pPr marL="18288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marL="0" marR="0" lvl="0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275353" algn="l"/>
              </a:tabLst>
              <a:defRPr/>
            </a:pP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5BAA"/>
                </a:solidFill>
                <a:effectLst/>
                <a:uLnTx/>
                <a:uFillTx/>
                <a:latin typeface="Arial (Headings)"/>
                <a:ea typeface="+mj-ea"/>
                <a:cs typeface="Calibri"/>
              </a:rPr>
              <a:t>HOW TO PREPARE FOR THE TEST-DRIVE?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218743DA-6506-3A5F-ADEE-6E6933AFDE7D}"/>
              </a:ext>
            </a:extLst>
          </p:cNvPr>
          <p:cNvSpPr/>
          <p:nvPr/>
        </p:nvSpPr>
        <p:spPr>
          <a:xfrm>
            <a:off x="526945" y="1886128"/>
            <a:ext cx="2025756" cy="914221"/>
          </a:xfrm>
          <a:prstGeom prst="rect">
            <a:avLst/>
          </a:prstGeom>
          <a:solidFill>
            <a:srgbClr val="293878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ar-AE" err="1">
              <a:solidFill>
                <a:schemeClr val="tx1"/>
              </a:solidFill>
            </a:endParaRP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EE7126D4-B2FD-0C9E-D266-8A6D8BE48718}"/>
              </a:ext>
            </a:extLst>
          </p:cNvPr>
          <p:cNvSpPr txBox="1">
            <a:spLocks/>
          </p:cNvSpPr>
          <p:nvPr/>
        </p:nvSpPr>
        <p:spPr bwMode="gray">
          <a:xfrm>
            <a:off x="1092148" y="2204738"/>
            <a:ext cx="895350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2pPr>
            <a:lvl3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3pPr>
            <a:lvl4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4pPr>
            <a:lvl5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5pPr>
            <a:lvl6pPr marL="4572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6pPr>
            <a:lvl7pPr marL="9144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7pPr>
            <a:lvl8pPr marL="13716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8pPr>
            <a:lvl9pPr marL="18288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275353" algn="l"/>
              </a:tabLst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 (Headings)"/>
                <a:ea typeface="+mj-ea"/>
                <a:cs typeface="Calibri"/>
              </a:rPr>
              <a:t>Prepare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49059E20-00B3-B426-71F7-BBDD1FCC4261}"/>
              </a:ext>
            </a:extLst>
          </p:cNvPr>
          <p:cNvSpPr/>
          <p:nvPr/>
        </p:nvSpPr>
        <p:spPr>
          <a:xfrm>
            <a:off x="526945" y="2971889"/>
            <a:ext cx="2025756" cy="914221"/>
          </a:xfrm>
          <a:prstGeom prst="rect">
            <a:avLst/>
          </a:prstGeom>
          <a:solidFill>
            <a:srgbClr val="24378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ar-AE" err="1">
              <a:solidFill>
                <a:schemeClr val="tx1"/>
              </a:solidFill>
            </a:endParaRP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DB18649F-D1EB-FD1E-46F4-2379A1A19736}"/>
              </a:ext>
            </a:extLst>
          </p:cNvPr>
          <p:cNvSpPr txBox="1">
            <a:spLocks/>
          </p:cNvSpPr>
          <p:nvPr/>
        </p:nvSpPr>
        <p:spPr bwMode="gray">
          <a:xfrm>
            <a:off x="1092148" y="3290499"/>
            <a:ext cx="895350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2pPr>
            <a:lvl3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3pPr>
            <a:lvl4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4pPr>
            <a:lvl5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5pPr>
            <a:lvl6pPr marL="4572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6pPr>
            <a:lvl7pPr marL="9144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7pPr>
            <a:lvl8pPr marL="13716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8pPr>
            <a:lvl9pPr marL="18288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275353" algn="l"/>
              </a:tabLst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 (Headings)"/>
                <a:ea typeface="+mj-ea"/>
                <a:cs typeface="Calibri"/>
              </a:rPr>
              <a:t>Drive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096230DC-B337-4D3E-E4EC-6A70F2D00600}"/>
              </a:ext>
            </a:extLst>
          </p:cNvPr>
          <p:cNvSpPr/>
          <p:nvPr/>
        </p:nvSpPr>
        <p:spPr>
          <a:xfrm>
            <a:off x="526944" y="4057650"/>
            <a:ext cx="2025756" cy="914221"/>
          </a:xfrm>
          <a:prstGeom prst="rect">
            <a:avLst/>
          </a:prstGeom>
          <a:solidFill>
            <a:srgbClr val="24378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ar-AE" err="1">
              <a:solidFill>
                <a:schemeClr val="tx1"/>
              </a:solidFill>
            </a:endParaRP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DEA8C34F-F092-1211-83E6-3AC7573689BA}"/>
              </a:ext>
            </a:extLst>
          </p:cNvPr>
          <p:cNvSpPr txBox="1">
            <a:spLocks/>
          </p:cNvSpPr>
          <p:nvPr/>
        </p:nvSpPr>
        <p:spPr bwMode="gray">
          <a:xfrm>
            <a:off x="1092147" y="4376260"/>
            <a:ext cx="895350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2pPr>
            <a:lvl3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3pPr>
            <a:lvl4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4pPr>
            <a:lvl5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5pPr>
            <a:lvl6pPr marL="4572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6pPr>
            <a:lvl7pPr marL="9144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7pPr>
            <a:lvl8pPr marL="13716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8pPr>
            <a:lvl9pPr marL="18288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275353" algn="l"/>
              </a:tabLst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 (Headings)"/>
                <a:ea typeface="+mj-ea"/>
                <a:cs typeface="Calibri"/>
              </a:rPr>
              <a:t>Switch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B1B514E4-FF49-A073-6DE0-FEB15C368EAB}"/>
              </a:ext>
            </a:extLst>
          </p:cNvPr>
          <p:cNvSpPr/>
          <p:nvPr/>
        </p:nvSpPr>
        <p:spPr>
          <a:xfrm>
            <a:off x="526944" y="5143411"/>
            <a:ext cx="2025756" cy="914221"/>
          </a:xfrm>
          <a:prstGeom prst="rect">
            <a:avLst/>
          </a:prstGeom>
          <a:solidFill>
            <a:srgbClr val="24378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ar-AE" err="1">
              <a:solidFill>
                <a:schemeClr val="tx1"/>
              </a:solidFill>
            </a:endParaRP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34157F82-0375-B275-7884-42CD2EE71398}"/>
              </a:ext>
            </a:extLst>
          </p:cNvPr>
          <p:cNvSpPr txBox="1">
            <a:spLocks/>
          </p:cNvSpPr>
          <p:nvPr/>
        </p:nvSpPr>
        <p:spPr bwMode="gray">
          <a:xfrm>
            <a:off x="990520" y="5462021"/>
            <a:ext cx="1098603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2pPr>
            <a:lvl3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3pPr>
            <a:lvl4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4pPr>
            <a:lvl5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5pPr>
            <a:lvl6pPr marL="4572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6pPr>
            <a:lvl7pPr marL="9144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7pPr>
            <a:lvl8pPr marL="13716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8pPr>
            <a:lvl9pPr marL="18288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275353" algn="l"/>
              </a:tabLst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 (Headings)"/>
                <a:ea typeface="+mj-ea"/>
                <a:cs typeface="Calibri"/>
              </a:rPr>
              <a:t>Feedback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5DDE8BB2-A721-AA70-E66C-CDAA4B3B68DC}"/>
              </a:ext>
            </a:extLst>
          </p:cNvPr>
          <p:cNvSpPr/>
          <p:nvPr/>
        </p:nvSpPr>
        <p:spPr>
          <a:xfrm>
            <a:off x="3117903" y="1875764"/>
            <a:ext cx="3616271" cy="4181868"/>
          </a:xfrm>
          <a:prstGeom prst="rect">
            <a:avLst/>
          </a:prstGeom>
          <a:solidFill>
            <a:srgbClr val="243782">
              <a:alpha val="1200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ar-AE" err="1">
              <a:solidFill>
                <a:schemeClr val="tx1"/>
              </a:solidFill>
            </a:endParaRP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AFA2B21C-DF8C-8D40-D497-BA63C7B86605}"/>
              </a:ext>
            </a:extLst>
          </p:cNvPr>
          <p:cNvSpPr txBox="1">
            <a:spLocks/>
          </p:cNvSpPr>
          <p:nvPr/>
        </p:nvSpPr>
        <p:spPr bwMode="gray">
          <a:xfrm>
            <a:off x="3403494" y="2204738"/>
            <a:ext cx="3044931" cy="255454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2pPr>
            <a:lvl3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3pPr>
            <a:lvl4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4pPr>
            <a:lvl5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5pPr>
            <a:lvl6pPr marL="4572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6pPr>
            <a:lvl7pPr marL="9144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7pPr>
            <a:lvl8pPr marL="13716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8pPr>
            <a:lvl9pPr marL="18288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marL="285750" marR="0" lvl="0" indent="-28575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>
                <a:tab pos="275353" algn="l"/>
              </a:tabLst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 (Headings)"/>
                <a:ea typeface="+mj-ea"/>
                <a:cs typeface="Calibri"/>
              </a:rPr>
              <a:t>Vehicle is Clean (Inside &amp; Outside)</a:t>
            </a:r>
          </a:p>
          <a:p>
            <a:pPr marL="285750" marR="0" lvl="0" indent="-28575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>
                <a:tab pos="275353" algn="l"/>
              </a:tabLst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 (Headings)"/>
                <a:ea typeface="+mj-ea"/>
                <a:cs typeface="Calibri"/>
              </a:rPr>
              <a:t>The route is set</a:t>
            </a:r>
          </a:p>
          <a:p>
            <a:pPr marL="285750" marR="0" lvl="0" indent="-28575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>
                <a:tab pos="275353" algn="l"/>
              </a:tabLst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 (Headings)"/>
                <a:ea typeface="+mj-ea"/>
                <a:cs typeface="Calibri"/>
              </a:rPr>
              <a:t>Vehicle is ready to drive</a:t>
            </a:r>
          </a:p>
          <a:p>
            <a:pPr marL="285750" marR="0" lvl="0" indent="-28575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>
                <a:tab pos="275353" algn="l"/>
              </a:tabLst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 (Headings)"/>
                <a:ea typeface="+mj-ea"/>
                <a:cs typeface="Calibri"/>
              </a:rPr>
              <a:t>You know what features to stress on</a:t>
            </a:r>
          </a:p>
          <a:p>
            <a:pPr marL="285750" marR="0" lvl="0" indent="-28575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>
                <a:tab pos="275353" algn="l"/>
              </a:tabLst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 (Headings)"/>
                <a:ea typeface="+mj-ea"/>
                <a:cs typeface="Calibri"/>
              </a:rPr>
              <a:t>Documentations done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8F3E7D0A-52CD-3190-F6AC-BC5C1DE25234}"/>
              </a:ext>
            </a:extLst>
          </p:cNvPr>
          <p:cNvCxnSpPr>
            <a:cxnSpLocks/>
          </p:cNvCxnSpPr>
          <p:nvPr/>
        </p:nvCxnSpPr>
        <p:spPr>
          <a:xfrm>
            <a:off x="2552701" y="2326306"/>
            <a:ext cx="565202" cy="0"/>
          </a:xfrm>
          <a:prstGeom prst="line">
            <a:avLst/>
          </a:prstGeom>
          <a:ln w="28575">
            <a:solidFill>
              <a:srgbClr val="293878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pic>
        <p:nvPicPr>
          <p:cNvPr id="7" name="Picture 6">
            <a:extLst>
              <a:ext uri="{FF2B5EF4-FFF2-40B4-BE49-F238E27FC236}">
                <a16:creationId xmlns:a16="http://schemas.microsoft.com/office/drawing/2014/main" id="{78C82CC5-9FAA-810A-D769-E77884C2A232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t="2395" b="48"/>
          <a:stretch/>
        </p:blipFill>
        <p:spPr>
          <a:xfrm>
            <a:off x="8075170" y="1886128"/>
            <a:ext cx="3589886" cy="4171504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98875750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  <p:bldP spid="5" grpId="0" animBg="1"/>
      <p:bldP spid="11" grpId="0" animBg="1"/>
      <p:bldP spid="13" grpId="0" animBg="1"/>
      <p:bldP spid="15" grpId="0" animBg="1"/>
      <p:bldP spid="16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>
            <a:extLst>
              <a:ext uri="{FF2B5EF4-FFF2-40B4-BE49-F238E27FC236}">
                <a16:creationId xmlns:a16="http://schemas.microsoft.com/office/drawing/2014/main" id="{B1D54BC0-B1BD-4863-A9D4-24EEC2CDFEDC}"/>
              </a:ext>
            </a:extLst>
          </p:cNvPr>
          <p:cNvSpPr txBox="1">
            <a:spLocks/>
          </p:cNvSpPr>
          <p:nvPr/>
        </p:nvSpPr>
        <p:spPr bwMode="gray">
          <a:xfrm>
            <a:off x="526944" y="316696"/>
            <a:ext cx="10888346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2pPr>
            <a:lvl3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3pPr>
            <a:lvl4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4pPr>
            <a:lvl5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5pPr>
            <a:lvl6pPr marL="4572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6pPr>
            <a:lvl7pPr marL="9144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7pPr>
            <a:lvl8pPr marL="13716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8pPr>
            <a:lvl9pPr marL="18288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marL="0" marR="0" lvl="0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275353" algn="l"/>
              </a:tabLst>
              <a:defRPr/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rgbClr val="005BAA"/>
                </a:solidFill>
                <a:effectLst/>
                <a:uLnTx/>
                <a:uFillTx/>
                <a:latin typeface="Arial (Headings)"/>
                <a:ea typeface="+mj-ea"/>
                <a:cs typeface="+mj-cs"/>
              </a:rPr>
              <a:t>THE EXCEPTIONAL TEST DRIVE </a:t>
            </a: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2110808A-C4A3-444E-0085-F85036D4E976}"/>
              </a:ext>
            </a:extLst>
          </p:cNvPr>
          <p:cNvSpPr txBox="1">
            <a:spLocks/>
          </p:cNvSpPr>
          <p:nvPr/>
        </p:nvSpPr>
        <p:spPr bwMode="gray">
          <a:xfrm>
            <a:off x="526944" y="1245323"/>
            <a:ext cx="4721331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2pPr>
            <a:lvl3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3pPr>
            <a:lvl4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4pPr>
            <a:lvl5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5pPr>
            <a:lvl6pPr marL="4572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6pPr>
            <a:lvl7pPr marL="9144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7pPr>
            <a:lvl8pPr marL="13716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8pPr>
            <a:lvl9pPr marL="18288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marL="0" marR="0" lvl="0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275353" algn="l"/>
              </a:tabLst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5BAA"/>
                </a:solidFill>
                <a:effectLst/>
                <a:uLnTx/>
                <a:uFillTx/>
                <a:latin typeface="Arial (Headings)"/>
                <a:ea typeface="+mj-ea"/>
                <a:cs typeface="Calibri"/>
              </a:rPr>
              <a:t>HOW TO PERFORM THE TEST-DRIVE?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218743DA-6506-3A5F-ADEE-6E6933AFDE7D}"/>
              </a:ext>
            </a:extLst>
          </p:cNvPr>
          <p:cNvSpPr/>
          <p:nvPr/>
        </p:nvSpPr>
        <p:spPr>
          <a:xfrm>
            <a:off x="526945" y="1886128"/>
            <a:ext cx="2025756" cy="914221"/>
          </a:xfrm>
          <a:prstGeom prst="rect">
            <a:avLst/>
          </a:prstGeom>
          <a:solidFill>
            <a:srgbClr val="293878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ar-AE" err="1">
              <a:solidFill>
                <a:schemeClr val="tx1"/>
              </a:solidFill>
            </a:endParaRP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EE7126D4-B2FD-0C9E-D266-8A6D8BE48718}"/>
              </a:ext>
            </a:extLst>
          </p:cNvPr>
          <p:cNvSpPr txBox="1">
            <a:spLocks/>
          </p:cNvSpPr>
          <p:nvPr/>
        </p:nvSpPr>
        <p:spPr bwMode="gray">
          <a:xfrm>
            <a:off x="1092148" y="2204738"/>
            <a:ext cx="895350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2pPr>
            <a:lvl3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3pPr>
            <a:lvl4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4pPr>
            <a:lvl5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5pPr>
            <a:lvl6pPr marL="4572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6pPr>
            <a:lvl7pPr marL="9144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7pPr>
            <a:lvl8pPr marL="13716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8pPr>
            <a:lvl9pPr marL="18288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275353" algn="l"/>
              </a:tabLst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 (Headings)"/>
                <a:ea typeface="+mj-ea"/>
                <a:cs typeface="Calibri"/>
              </a:rPr>
              <a:t>Prepare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49059E20-00B3-B426-71F7-BBDD1FCC4261}"/>
              </a:ext>
            </a:extLst>
          </p:cNvPr>
          <p:cNvSpPr/>
          <p:nvPr/>
        </p:nvSpPr>
        <p:spPr>
          <a:xfrm>
            <a:off x="526945" y="2971889"/>
            <a:ext cx="2025756" cy="914221"/>
          </a:xfrm>
          <a:prstGeom prst="rect">
            <a:avLst/>
          </a:prstGeom>
          <a:solidFill>
            <a:srgbClr val="24378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ar-AE" err="1">
              <a:solidFill>
                <a:schemeClr val="tx1"/>
              </a:solidFill>
            </a:endParaRP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DB18649F-D1EB-FD1E-46F4-2379A1A19736}"/>
              </a:ext>
            </a:extLst>
          </p:cNvPr>
          <p:cNvSpPr txBox="1">
            <a:spLocks/>
          </p:cNvSpPr>
          <p:nvPr/>
        </p:nvSpPr>
        <p:spPr bwMode="gray">
          <a:xfrm>
            <a:off x="1092148" y="3290499"/>
            <a:ext cx="895350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2pPr>
            <a:lvl3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3pPr>
            <a:lvl4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4pPr>
            <a:lvl5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5pPr>
            <a:lvl6pPr marL="4572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6pPr>
            <a:lvl7pPr marL="9144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7pPr>
            <a:lvl8pPr marL="13716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8pPr>
            <a:lvl9pPr marL="18288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275353" algn="l"/>
              </a:tabLst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 (Headings)"/>
                <a:ea typeface="+mj-ea"/>
                <a:cs typeface="Calibri"/>
              </a:rPr>
              <a:t>Drive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096230DC-B337-4D3E-E4EC-6A70F2D00600}"/>
              </a:ext>
            </a:extLst>
          </p:cNvPr>
          <p:cNvSpPr/>
          <p:nvPr/>
        </p:nvSpPr>
        <p:spPr>
          <a:xfrm>
            <a:off x="526944" y="4057650"/>
            <a:ext cx="2025756" cy="914221"/>
          </a:xfrm>
          <a:prstGeom prst="rect">
            <a:avLst/>
          </a:prstGeom>
          <a:solidFill>
            <a:srgbClr val="24378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ar-AE" err="1">
              <a:solidFill>
                <a:schemeClr val="tx1"/>
              </a:solidFill>
            </a:endParaRP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DEA8C34F-F092-1211-83E6-3AC7573689BA}"/>
              </a:ext>
            </a:extLst>
          </p:cNvPr>
          <p:cNvSpPr txBox="1">
            <a:spLocks/>
          </p:cNvSpPr>
          <p:nvPr/>
        </p:nvSpPr>
        <p:spPr bwMode="gray">
          <a:xfrm>
            <a:off x="1092147" y="4376260"/>
            <a:ext cx="895350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2pPr>
            <a:lvl3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3pPr>
            <a:lvl4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4pPr>
            <a:lvl5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5pPr>
            <a:lvl6pPr marL="4572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6pPr>
            <a:lvl7pPr marL="9144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7pPr>
            <a:lvl8pPr marL="13716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8pPr>
            <a:lvl9pPr marL="18288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275353" algn="l"/>
              </a:tabLst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 (Headings)"/>
                <a:ea typeface="+mj-ea"/>
                <a:cs typeface="Calibri"/>
              </a:rPr>
              <a:t>Switch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B1B514E4-FF49-A073-6DE0-FEB15C368EAB}"/>
              </a:ext>
            </a:extLst>
          </p:cNvPr>
          <p:cNvSpPr/>
          <p:nvPr/>
        </p:nvSpPr>
        <p:spPr>
          <a:xfrm>
            <a:off x="526944" y="5143411"/>
            <a:ext cx="2025756" cy="914221"/>
          </a:xfrm>
          <a:prstGeom prst="rect">
            <a:avLst/>
          </a:prstGeom>
          <a:solidFill>
            <a:srgbClr val="24378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ar-AE" err="1">
              <a:solidFill>
                <a:schemeClr val="tx1"/>
              </a:solidFill>
            </a:endParaRP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34157F82-0375-B275-7884-42CD2EE71398}"/>
              </a:ext>
            </a:extLst>
          </p:cNvPr>
          <p:cNvSpPr txBox="1">
            <a:spLocks/>
          </p:cNvSpPr>
          <p:nvPr/>
        </p:nvSpPr>
        <p:spPr bwMode="gray">
          <a:xfrm>
            <a:off x="990520" y="5462021"/>
            <a:ext cx="1098603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2pPr>
            <a:lvl3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3pPr>
            <a:lvl4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4pPr>
            <a:lvl5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5pPr>
            <a:lvl6pPr marL="4572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6pPr>
            <a:lvl7pPr marL="9144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7pPr>
            <a:lvl8pPr marL="13716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8pPr>
            <a:lvl9pPr marL="18288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275353" algn="l"/>
              </a:tabLst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 (Headings)"/>
                <a:ea typeface="+mj-ea"/>
                <a:cs typeface="Calibri"/>
              </a:rPr>
              <a:t>Feedback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5DDE8BB2-A721-AA70-E66C-CDAA4B3B68DC}"/>
              </a:ext>
            </a:extLst>
          </p:cNvPr>
          <p:cNvSpPr/>
          <p:nvPr/>
        </p:nvSpPr>
        <p:spPr>
          <a:xfrm>
            <a:off x="3117903" y="1875764"/>
            <a:ext cx="3616271" cy="4181868"/>
          </a:xfrm>
          <a:prstGeom prst="rect">
            <a:avLst/>
          </a:prstGeom>
          <a:solidFill>
            <a:srgbClr val="243782">
              <a:alpha val="1200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ar-AE" err="1">
              <a:solidFill>
                <a:schemeClr val="tx1"/>
              </a:solidFill>
            </a:endParaRP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AFA2B21C-DF8C-8D40-D497-BA63C7B86605}"/>
              </a:ext>
            </a:extLst>
          </p:cNvPr>
          <p:cNvSpPr txBox="1">
            <a:spLocks/>
          </p:cNvSpPr>
          <p:nvPr/>
        </p:nvSpPr>
        <p:spPr bwMode="gray">
          <a:xfrm>
            <a:off x="3403494" y="2204738"/>
            <a:ext cx="3044931" cy="32316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2pPr>
            <a:lvl3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3pPr>
            <a:lvl4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4pPr>
            <a:lvl5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5pPr>
            <a:lvl6pPr marL="4572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6pPr>
            <a:lvl7pPr marL="9144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7pPr>
            <a:lvl8pPr marL="13716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8pPr>
            <a:lvl9pPr marL="18288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marL="285750" marR="0" lvl="0" indent="-28575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>
                <a:tab pos="275353" algn="l"/>
              </a:tabLst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 (Headings)"/>
                <a:ea typeface="+mj-ea"/>
                <a:cs typeface="Calibri"/>
              </a:rPr>
              <a:t>Start the test drive by driving the car and the customer in the passenger seat</a:t>
            </a:r>
          </a:p>
          <a:p>
            <a:pPr marL="285750" marR="0" lvl="0" indent="-28575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>
                <a:tab pos="275353" algn="l"/>
              </a:tabLst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 (Headings)"/>
                <a:ea typeface="+mj-ea"/>
                <a:cs typeface="Calibri"/>
              </a:rPr>
              <a:t>Describe the route and why you chose it</a:t>
            </a:r>
          </a:p>
          <a:p>
            <a:pPr marL="285750" marR="0" lvl="0" indent="-28575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>
                <a:tab pos="275353" algn="l"/>
              </a:tabLst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 (Headings)"/>
                <a:ea typeface="+mj-ea"/>
                <a:cs typeface="Calibri"/>
              </a:rPr>
              <a:t>Show the customer how all or most of the features are working</a:t>
            </a:r>
          </a:p>
          <a:p>
            <a:pPr marL="285750" marR="0" lvl="0" indent="-28575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>
                <a:tab pos="275353" algn="l"/>
              </a:tabLst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 (Headings)"/>
                <a:ea typeface="+mj-ea"/>
                <a:cs typeface="Calibri"/>
              </a:rPr>
              <a:t>Answer any questions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E0455EFE-7FF3-5A78-E9BA-63BD31C28816}"/>
              </a:ext>
            </a:extLst>
          </p:cNvPr>
          <p:cNvCxnSpPr>
            <a:cxnSpLocks/>
          </p:cNvCxnSpPr>
          <p:nvPr/>
        </p:nvCxnSpPr>
        <p:spPr>
          <a:xfrm>
            <a:off x="2552700" y="3393106"/>
            <a:ext cx="565202" cy="0"/>
          </a:xfrm>
          <a:prstGeom prst="line">
            <a:avLst/>
          </a:prstGeom>
          <a:ln w="28575">
            <a:solidFill>
              <a:srgbClr val="293878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pic>
        <p:nvPicPr>
          <p:cNvPr id="9" name="Picture 8">
            <a:extLst>
              <a:ext uri="{FF2B5EF4-FFF2-40B4-BE49-F238E27FC236}">
                <a16:creationId xmlns:a16="http://schemas.microsoft.com/office/drawing/2014/main" id="{9DB18DFB-58E0-06B2-C68E-E049C9D1344B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t="2395" b="48"/>
          <a:stretch/>
        </p:blipFill>
        <p:spPr>
          <a:xfrm>
            <a:off x="8075170" y="1886128"/>
            <a:ext cx="3589886" cy="4171504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7834060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 animBg="1"/>
      <p:bldP spid="16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>
            <a:extLst>
              <a:ext uri="{FF2B5EF4-FFF2-40B4-BE49-F238E27FC236}">
                <a16:creationId xmlns:a16="http://schemas.microsoft.com/office/drawing/2014/main" id="{B1D54BC0-B1BD-4863-A9D4-24EEC2CDFEDC}"/>
              </a:ext>
            </a:extLst>
          </p:cNvPr>
          <p:cNvSpPr txBox="1">
            <a:spLocks/>
          </p:cNvSpPr>
          <p:nvPr/>
        </p:nvSpPr>
        <p:spPr bwMode="gray">
          <a:xfrm>
            <a:off x="526944" y="316696"/>
            <a:ext cx="10888346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2pPr>
            <a:lvl3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3pPr>
            <a:lvl4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4pPr>
            <a:lvl5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5pPr>
            <a:lvl6pPr marL="4572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6pPr>
            <a:lvl7pPr marL="9144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7pPr>
            <a:lvl8pPr marL="13716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8pPr>
            <a:lvl9pPr marL="18288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marL="0" marR="0" lvl="0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275353" algn="l"/>
              </a:tabLst>
              <a:defRPr/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rgbClr val="005BAA"/>
                </a:solidFill>
                <a:effectLst/>
                <a:uLnTx/>
                <a:uFillTx/>
                <a:latin typeface="Arial (Headings)"/>
                <a:ea typeface="+mj-ea"/>
                <a:cs typeface="+mj-cs"/>
              </a:rPr>
              <a:t>THE EXCEPTIONAL TEST DRIVE </a:t>
            </a: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2110808A-C4A3-444E-0085-F85036D4E976}"/>
              </a:ext>
            </a:extLst>
          </p:cNvPr>
          <p:cNvSpPr txBox="1">
            <a:spLocks/>
          </p:cNvSpPr>
          <p:nvPr/>
        </p:nvSpPr>
        <p:spPr bwMode="gray">
          <a:xfrm>
            <a:off x="526944" y="1245323"/>
            <a:ext cx="4721331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2pPr>
            <a:lvl3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3pPr>
            <a:lvl4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4pPr>
            <a:lvl5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5pPr>
            <a:lvl6pPr marL="4572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6pPr>
            <a:lvl7pPr marL="9144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7pPr>
            <a:lvl8pPr marL="13716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8pPr>
            <a:lvl9pPr marL="18288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marL="0" marR="0" lvl="0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275353" algn="l"/>
              </a:tabLst>
              <a:defRPr/>
            </a:pP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5BAA"/>
                </a:solidFill>
                <a:effectLst/>
                <a:uLnTx/>
                <a:uFillTx/>
                <a:latin typeface="Arial (Headings)"/>
                <a:ea typeface="+mj-ea"/>
                <a:cs typeface="Calibri"/>
              </a:rPr>
              <a:t>HOW TO </a:t>
            </a:r>
            <a:r>
              <a:rPr lang="en-US" sz="1800" kern="0" dirty="0">
                <a:solidFill>
                  <a:srgbClr val="005BAA"/>
                </a:solidFill>
                <a:latin typeface="Arial (Headings)"/>
                <a:cs typeface="Calibri"/>
              </a:rPr>
              <a:t>STRUCTURE</a:t>
            </a: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5BAA"/>
                </a:solidFill>
                <a:effectLst/>
                <a:uLnTx/>
                <a:uFillTx/>
                <a:latin typeface="Arial (Headings)"/>
                <a:ea typeface="+mj-ea"/>
                <a:cs typeface="Calibri"/>
              </a:rPr>
              <a:t> THE TEST-DRIVE?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218743DA-6506-3A5F-ADEE-6E6933AFDE7D}"/>
              </a:ext>
            </a:extLst>
          </p:cNvPr>
          <p:cNvSpPr/>
          <p:nvPr/>
        </p:nvSpPr>
        <p:spPr>
          <a:xfrm>
            <a:off x="526945" y="1886128"/>
            <a:ext cx="2025756" cy="914221"/>
          </a:xfrm>
          <a:prstGeom prst="rect">
            <a:avLst/>
          </a:prstGeom>
          <a:solidFill>
            <a:srgbClr val="293878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ar-AE" err="1">
              <a:solidFill>
                <a:schemeClr val="tx1"/>
              </a:solidFill>
            </a:endParaRP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EE7126D4-B2FD-0C9E-D266-8A6D8BE48718}"/>
              </a:ext>
            </a:extLst>
          </p:cNvPr>
          <p:cNvSpPr txBox="1">
            <a:spLocks/>
          </p:cNvSpPr>
          <p:nvPr/>
        </p:nvSpPr>
        <p:spPr bwMode="gray">
          <a:xfrm>
            <a:off x="1092148" y="2204738"/>
            <a:ext cx="895350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2pPr>
            <a:lvl3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3pPr>
            <a:lvl4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4pPr>
            <a:lvl5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5pPr>
            <a:lvl6pPr marL="4572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6pPr>
            <a:lvl7pPr marL="9144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7pPr>
            <a:lvl8pPr marL="13716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8pPr>
            <a:lvl9pPr marL="18288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275353" algn="l"/>
              </a:tabLst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 (Headings)"/>
                <a:ea typeface="+mj-ea"/>
                <a:cs typeface="Calibri"/>
              </a:rPr>
              <a:t>Prepare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49059E20-00B3-B426-71F7-BBDD1FCC4261}"/>
              </a:ext>
            </a:extLst>
          </p:cNvPr>
          <p:cNvSpPr/>
          <p:nvPr/>
        </p:nvSpPr>
        <p:spPr>
          <a:xfrm>
            <a:off x="526945" y="2971889"/>
            <a:ext cx="2025756" cy="914221"/>
          </a:xfrm>
          <a:prstGeom prst="rect">
            <a:avLst/>
          </a:prstGeom>
          <a:solidFill>
            <a:srgbClr val="24378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ar-AE" err="1">
              <a:solidFill>
                <a:schemeClr val="tx1"/>
              </a:solidFill>
            </a:endParaRP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DB18649F-D1EB-FD1E-46F4-2379A1A19736}"/>
              </a:ext>
            </a:extLst>
          </p:cNvPr>
          <p:cNvSpPr txBox="1">
            <a:spLocks/>
          </p:cNvSpPr>
          <p:nvPr/>
        </p:nvSpPr>
        <p:spPr bwMode="gray">
          <a:xfrm>
            <a:off x="1092148" y="3290499"/>
            <a:ext cx="895350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2pPr>
            <a:lvl3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3pPr>
            <a:lvl4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4pPr>
            <a:lvl5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5pPr>
            <a:lvl6pPr marL="4572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6pPr>
            <a:lvl7pPr marL="9144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7pPr>
            <a:lvl8pPr marL="13716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8pPr>
            <a:lvl9pPr marL="18288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275353" algn="l"/>
              </a:tabLst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 (Headings)"/>
                <a:ea typeface="+mj-ea"/>
                <a:cs typeface="Calibri"/>
              </a:rPr>
              <a:t>Drive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096230DC-B337-4D3E-E4EC-6A70F2D00600}"/>
              </a:ext>
            </a:extLst>
          </p:cNvPr>
          <p:cNvSpPr/>
          <p:nvPr/>
        </p:nvSpPr>
        <p:spPr>
          <a:xfrm>
            <a:off x="526944" y="4057650"/>
            <a:ext cx="2025756" cy="914221"/>
          </a:xfrm>
          <a:prstGeom prst="rect">
            <a:avLst/>
          </a:prstGeom>
          <a:solidFill>
            <a:srgbClr val="24378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ar-AE" err="1">
              <a:solidFill>
                <a:schemeClr val="tx1"/>
              </a:solidFill>
            </a:endParaRP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DEA8C34F-F092-1211-83E6-3AC7573689BA}"/>
              </a:ext>
            </a:extLst>
          </p:cNvPr>
          <p:cNvSpPr txBox="1">
            <a:spLocks/>
          </p:cNvSpPr>
          <p:nvPr/>
        </p:nvSpPr>
        <p:spPr bwMode="gray">
          <a:xfrm>
            <a:off x="1092147" y="4376260"/>
            <a:ext cx="895350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2pPr>
            <a:lvl3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3pPr>
            <a:lvl4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4pPr>
            <a:lvl5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5pPr>
            <a:lvl6pPr marL="4572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6pPr>
            <a:lvl7pPr marL="9144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7pPr>
            <a:lvl8pPr marL="13716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8pPr>
            <a:lvl9pPr marL="18288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275353" algn="l"/>
              </a:tabLst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 (Headings)"/>
                <a:ea typeface="+mj-ea"/>
                <a:cs typeface="Calibri"/>
              </a:rPr>
              <a:t>Switch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B1B514E4-FF49-A073-6DE0-FEB15C368EAB}"/>
              </a:ext>
            </a:extLst>
          </p:cNvPr>
          <p:cNvSpPr/>
          <p:nvPr/>
        </p:nvSpPr>
        <p:spPr>
          <a:xfrm>
            <a:off x="526944" y="5143411"/>
            <a:ext cx="2025756" cy="914221"/>
          </a:xfrm>
          <a:prstGeom prst="rect">
            <a:avLst/>
          </a:prstGeom>
          <a:solidFill>
            <a:srgbClr val="24378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ar-AE" err="1">
              <a:solidFill>
                <a:schemeClr val="tx1"/>
              </a:solidFill>
            </a:endParaRP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34157F82-0375-B275-7884-42CD2EE71398}"/>
              </a:ext>
            </a:extLst>
          </p:cNvPr>
          <p:cNvSpPr txBox="1">
            <a:spLocks/>
          </p:cNvSpPr>
          <p:nvPr/>
        </p:nvSpPr>
        <p:spPr bwMode="gray">
          <a:xfrm>
            <a:off x="990520" y="5462021"/>
            <a:ext cx="1098603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2pPr>
            <a:lvl3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3pPr>
            <a:lvl4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4pPr>
            <a:lvl5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5pPr>
            <a:lvl6pPr marL="4572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6pPr>
            <a:lvl7pPr marL="9144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7pPr>
            <a:lvl8pPr marL="13716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8pPr>
            <a:lvl9pPr marL="18288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275353" algn="l"/>
              </a:tabLst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 (Headings)"/>
                <a:ea typeface="+mj-ea"/>
                <a:cs typeface="Calibri"/>
              </a:rPr>
              <a:t>Feedback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5DDE8BB2-A721-AA70-E66C-CDAA4B3B68DC}"/>
              </a:ext>
            </a:extLst>
          </p:cNvPr>
          <p:cNvSpPr/>
          <p:nvPr/>
        </p:nvSpPr>
        <p:spPr>
          <a:xfrm>
            <a:off x="3117903" y="1875764"/>
            <a:ext cx="3616271" cy="4181868"/>
          </a:xfrm>
          <a:prstGeom prst="rect">
            <a:avLst/>
          </a:prstGeom>
          <a:solidFill>
            <a:srgbClr val="243782">
              <a:alpha val="1200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ar-AE" err="1">
              <a:solidFill>
                <a:schemeClr val="tx1"/>
              </a:solidFill>
            </a:endParaRP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AFA2B21C-DF8C-8D40-D497-BA63C7B86605}"/>
              </a:ext>
            </a:extLst>
          </p:cNvPr>
          <p:cNvSpPr txBox="1">
            <a:spLocks/>
          </p:cNvSpPr>
          <p:nvPr/>
        </p:nvSpPr>
        <p:spPr bwMode="gray">
          <a:xfrm>
            <a:off x="3403494" y="2204738"/>
            <a:ext cx="3044931" cy="267765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2pPr>
            <a:lvl3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3pPr>
            <a:lvl4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4pPr>
            <a:lvl5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5pPr>
            <a:lvl6pPr marL="4572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6pPr>
            <a:lvl7pPr marL="9144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7pPr>
            <a:lvl8pPr marL="13716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8pPr>
            <a:lvl9pPr marL="18288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marL="285750" marR="0" lvl="0" indent="-28575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>
                <a:tab pos="275353" algn="l"/>
              </a:tabLst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 (Headings)"/>
                <a:ea typeface="+mj-ea"/>
                <a:cs typeface="Calibri"/>
              </a:rPr>
              <a:t>Switch places and let the customer drive</a:t>
            </a:r>
          </a:p>
          <a:p>
            <a:pPr marL="285750" marR="0" lvl="0" indent="-28575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>
                <a:tab pos="275353" algn="l"/>
              </a:tabLst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 (Headings)"/>
                <a:ea typeface="+mj-ea"/>
                <a:cs typeface="Calibri"/>
              </a:rPr>
              <a:t>DO NOT TALK or describe any further feature</a:t>
            </a:r>
          </a:p>
          <a:p>
            <a:pPr marL="285750" marR="0" lvl="0" indent="-28575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>
                <a:tab pos="275353" algn="l"/>
              </a:tabLst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 (Headings)"/>
                <a:ea typeface="+mj-ea"/>
                <a:cs typeface="Calibri"/>
              </a:rPr>
              <a:t>Let the customer enjoy the drive silently</a:t>
            </a:r>
          </a:p>
          <a:p>
            <a:pPr marL="285750" marR="0" lvl="0" indent="-28575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>
                <a:tab pos="275353" algn="l"/>
              </a:tabLst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 (Headings)"/>
                <a:ea typeface="+mj-ea"/>
                <a:cs typeface="Calibri"/>
              </a:rPr>
              <a:t>ONLY answer the customer’s questions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01766073-68A7-0904-49E2-5F722781442F}"/>
              </a:ext>
            </a:extLst>
          </p:cNvPr>
          <p:cNvCxnSpPr>
            <a:cxnSpLocks/>
          </p:cNvCxnSpPr>
          <p:nvPr/>
        </p:nvCxnSpPr>
        <p:spPr>
          <a:xfrm>
            <a:off x="2552701" y="4493772"/>
            <a:ext cx="565202" cy="0"/>
          </a:xfrm>
          <a:prstGeom prst="line">
            <a:avLst/>
          </a:prstGeom>
          <a:ln w="28575">
            <a:solidFill>
              <a:srgbClr val="293878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pic>
        <p:nvPicPr>
          <p:cNvPr id="9" name="Picture 8">
            <a:extLst>
              <a:ext uri="{FF2B5EF4-FFF2-40B4-BE49-F238E27FC236}">
                <a16:creationId xmlns:a16="http://schemas.microsoft.com/office/drawing/2014/main" id="{873C6140-B5F6-C159-F384-8A22DBBCCEB8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t="2395" b="48"/>
          <a:stretch/>
        </p:blipFill>
        <p:spPr>
          <a:xfrm>
            <a:off x="8075170" y="1886128"/>
            <a:ext cx="3589886" cy="4171504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42519960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 animBg="1"/>
      <p:bldP spid="16" grpId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>
            <a:extLst>
              <a:ext uri="{FF2B5EF4-FFF2-40B4-BE49-F238E27FC236}">
                <a16:creationId xmlns:a16="http://schemas.microsoft.com/office/drawing/2014/main" id="{B1D54BC0-B1BD-4863-A9D4-24EEC2CDFEDC}"/>
              </a:ext>
            </a:extLst>
          </p:cNvPr>
          <p:cNvSpPr txBox="1">
            <a:spLocks/>
          </p:cNvSpPr>
          <p:nvPr/>
        </p:nvSpPr>
        <p:spPr bwMode="gray">
          <a:xfrm>
            <a:off x="526944" y="316696"/>
            <a:ext cx="10888346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2pPr>
            <a:lvl3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3pPr>
            <a:lvl4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4pPr>
            <a:lvl5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5pPr>
            <a:lvl6pPr marL="4572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6pPr>
            <a:lvl7pPr marL="9144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7pPr>
            <a:lvl8pPr marL="13716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8pPr>
            <a:lvl9pPr marL="18288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marL="0" marR="0" lvl="0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275353" algn="l"/>
              </a:tabLst>
              <a:defRPr/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rgbClr val="005BAA"/>
                </a:solidFill>
                <a:effectLst/>
                <a:uLnTx/>
                <a:uFillTx/>
                <a:latin typeface="Arial (Headings)"/>
                <a:ea typeface="+mj-ea"/>
                <a:cs typeface="+mj-cs"/>
              </a:rPr>
              <a:t>THE EXCEPTIONAL TEST DRIVE </a:t>
            </a: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2110808A-C4A3-444E-0085-F85036D4E976}"/>
              </a:ext>
            </a:extLst>
          </p:cNvPr>
          <p:cNvSpPr txBox="1">
            <a:spLocks/>
          </p:cNvSpPr>
          <p:nvPr/>
        </p:nvSpPr>
        <p:spPr bwMode="gray">
          <a:xfrm>
            <a:off x="526944" y="1245323"/>
            <a:ext cx="5455215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2pPr>
            <a:lvl3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3pPr>
            <a:lvl4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4pPr>
            <a:lvl5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5pPr>
            <a:lvl6pPr marL="4572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6pPr>
            <a:lvl7pPr marL="9144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7pPr>
            <a:lvl8pPr marL="13716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8pPr>
            <a:lvl9pPr marL="18288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marL="0" marR="0" lvl="0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275353" algn="l"/>
              </a:tabLst>
              <a:defRPr/>
            </a:pP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5BAA"/>
                </a:solidFill>
                <a:effectLst/>
                <a:uLnTx/>
                <a:uFillTx/>
                <a:latin typeface="Arial (Headings)"/>
                <a:ea typeface="+mj-ea"/>
                <a:cs typeface="Calibri"/>
              </a:rPr>
              <a:t>HOW TO </a:t>
            </a:r>
            <a:r>
              <a:rPr lang="en-US" sz="1800" kern="0" dirty="0">
                <a:solidFill>
                  <a:srgbClr val="005BAA"/>
                </a:solidFill>
                <a:latin typeface="Arial (Headings)"/>
                <a:cs typeface="Calibri"/>
              </a:rPr>
              <a:t>TRIAL CLOSE AFTER</a:t>
            </a: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5BAA"/>
                </a:solidFill>
                <a:effectLst/>
                <a:uLnTx/>
                <a:uFillTx/>
                <a:latin typeface="Arial (Headings)"/>
                <a:ea typeface="+mj-ea"/>
                <a:cs typeface="Calibri"/>
              </a:rPr>
              <a:t> THE TEST-DRIVE?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218743DA-6506-3A5F-ADEE-6E6933AFDE7D}"/>
              </a:ext>
            </a:extLst>
          </p:cNvPr>
          <p:cNvSpPr/>
          <p:nvPr/>
        </p:nvSpPr>
        <p:spPr>
          <a:xfrm>
            <a:off x="526945" y="1886128"/>
            <a:ext cx="2025756" cy="914221"/>
          </a:xfrm>
          <a:prstGeom prst="rect">
            <a:avLst/>
          </a:prstGeom>
          <a:solidFill>
            <a:srgbClr val="293878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ar-AE" err="1">
              <a:solidFill>
                <a:schemeClr val="tx1"/>
              </a:solidFill>
            </a:endParaRP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EE7126D4-B2FD-0C9E-D266-8A6D8BE48718}"/>
              </a:ext>
            </a:extLst>
          </p:cNvPr>
          <p:cNvSpPr txBox="1">
            <a:spLocks/>
          </p:cNvSpPr>
          <p:nvPr/>
        </p:nvSpPr>
        <p:spPr bwMode="gray">
          <a:xfrm>
            <a:off x="1092148" y="2204738"/>
            <a:ext cx="895350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2pPr>
            <a:lvl3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3pPr>
            <a:lvl4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4pPr>
            <a:lvl5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5pPr>
            <a:lvl6pPr marL="4572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6pPr>
            <a:lvl7pPr marL="9144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7pPr>
            <a:lvl8pPr marL="13716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8pPr>
            <a:lvl9pPr marL="18288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275353" algn="l"/>
              </a:tabLst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 (Headings)"/>
                <a:ea typeface="+mj-ea"/>
                <a:cs typeface="Calibri"/>
              </a:rPr>
              <a:t>Prepare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49059E20-00B3-B426-71F7-BBDD1FCC4261}"/>
              </a:ext>
            </a:extLst>
          </p:cNvPr>
          <p:cNvSpPr/>
          <p:nvPr/>
        </p:nvSpPr>
        <p:spPr>
          <a:xfrm>
            <a:off x="526945" y="2971889"/>
            <a:ext cx="2025756" cy="914221"/>
          </a:xfrm>
          <a:prstGeom prst="rect">
            <a:avLst/>
          </a:prstGeom>
          <a:solidFill>
            <a:srgbClr val="24378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ar-AE" err="1">
              <a:solidFill>
                <a:schemeClr val="tx1"/>
              </a:solidFill>
            </a:endParaRP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DB18649F-D1EB-FD1E-46F4-2379A1A19736}"/>
              </a:ext>
            </a:extLst>
          </p:cNvPr>
          <p:cNvSpPr txBox="1">
            <a:spLocks/>
          </p:cNvSpPr>
          <p:nvPr/>
        </p:nvSpPr>
        <p:spPr bwMode="gray">
          <a:xfrm>
            <a:off x="1092148" y="3290499"/>
            <a:ext cx="895350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2pPr>
            <a:lvl3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3pPr>
            <a:lvl4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4pPr>
            <a:lvl5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5pPr>
            <a:lvl6pPr marL="4572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6pPr>
            <a:lvl7pPr marL="9144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7pPr>
            <a:lvl8pPr marL="13716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8pPr>
            <a:lvl9pPr marL="18288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275353" algn="l"/>
              </a:tabLst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 (Headings)"/>
                <a:ea typeface="+mj-ea"/>
                <a:cs typeface="Calibri"/>
              </a:rPr>
              <a:t>Drive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096230DC-B337-4D3E-E4EC-6A70F2D00600}"/>
              </a:ext>
            </a:extLst>
          </p:cNvPr>
          <p:cNvSpPr/>
          <p:nvPr/>
        </p:nvSpPr>
        <p:spPr>
          <a:xfrm>
            <a:off x="526944" y="4057650"/>
            <a:ext cx="2025756" cy="914221"/>
          </a:xfrm>
          <a:prstGeom prst="rect">
            <a:avLst/>
          </a:prstGeom>
          <a:solidFill>
            <a:srgbClr val="24378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ar-AE" err="1">
              <a:solidFill>
                <a:schemeClr val="tx1"/>
              </a:solidFill>
            </a:endParaRP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DEA8C34F-F092-1211-83E6-3AC7573689BA}"/>
              </a:ext>
            </a:extLst>
          </p:cNvPr>
          <p:cNvSpPr txBox="1">
            <a:spLocks/>
          </p:cNvSpPr>
          <p:nvPr/>
        </p:nvSpPr>
        <p:spPr bwMode="gray">
          <a:xfrm>
            <a:off x="1092147" y="4376260"/>
            <a:ext cx="895350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2pPr>
            <a:lvl3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3pPr>
            <a:lvl4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4pPr>
            <a:lvl5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5pPr>
            <a:lvl6pPr marL="4572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6pPr>
            <a:lvl7pPr marL="9144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7pPr>
            <a:lvl8pPr marL="13716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8pPr>
            <a:lvl9pPr marL="18288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275353" algn="l"/>
              </a:tabLst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 (Headings)"/>
                <a:ea typeface="+mj-ea"/>
                <a:cs typeface="Calibri"/>
              </a:rPr>
              <a:t>Switch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B1B514E4-FF49-A073-6DE0-FEB15C368EAB}"/>
              </a:ext>
            </a:extLst>
          </p:cNvPr>
          <p:cNvSpPr/>
          <p:nvPr/>
        </p:nvSpPr>
        <p:spPr>
          <a:xfrm>
            <a:off x="526944" y="5143411"/>
            <a:ext cx="2025756" cy="914221"/>
          </a:xfrm>
          <a:prstGeom prst="rect">
            <a:avLst/>
          </a:prstGeom>
          <a:solidFill>
            <a:srgbClr val="24378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ar-AE" err="1">
              <a:solidFill>
                <a:schemeClr val="tx1"/>
              </a:solidFill>
            </a:endParaRP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34157F82-0375-B275-7884-42CD2EE71398}"/>
              </a:ext>
            </a:extLst>
          </p:cNvPr>
          <p:cNvSpPr txBox="1">
            <a:spLocks/>
          </p:cNvSpPr>
          <p:nvPr/>
        </p:nvSpPr>
        <p:spPr bwMode="gray">
          <a:xfrm>
            <a:off x="990520" y="5462021"/>
            <a:ext cx="1098603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2pPr>
            <a:lvl3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3pPr>
            <a:lvl4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4pPr>
            <a:lvl5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5pPr>
            <a:lvl6pPr marL="4572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6pPr>
            <a:lvl7pPr marL="9144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7pPr>
            <a:lvl8pPr marL="13716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8pPr>
            <a:lvl9pPr marL="18288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275353" algn="l"/>
              </a:tabLst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 (Headings)"/>
                <a:ea typeface="+mj-ea"/>
                <a:cs typeface="Calibri"/>
              </a:rPr>
              <a:t>Feedback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5DDE8BB2-A721-AA70-E66C-CDAA4B3B68DC}"/>
              </a:ext>
            </a:extLst>
          </p:cNvPr>
          <p:cNvSpPr/>
          <p:nvPr/>
        </p:nvSpPr>
        <p:spPr>
          <a:xfrm>
            <a:off x="3117903" y="1875764"/>
            <a:ext cx="3616271" cy="4181868"/>
          </a:xfrm>
          <a:prstGeom prst="rect">
            <a:avLst/>
          </a:prstGeom>
          <a:solidFill>
            <a:srgbClr val="243782">
              <a:alpha val="1200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ar-AE" err="1">
              <a:solidFill>
                <a:schemeClr val="tx1"/>
              </a:solidFill>
            </a:endParaRP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AFA2B21C-DF8C-8D40-D497-BA63C7B86605}"/>
              </a:ext>
            </a:extLst>
          </p:cNvPr>
          <p:cNvSpPr txBox="1">
            <a:spLocks/>
          </p:cNvSpPr>
          <p:nvPr/>
        </p:nvSpPr>
        <p:spPr bwMode="gray">
          <a:xfrm>
            <a:off x="3403494" y="2204738"/>
            <a:ext cx="3044931" cy="381642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2pPr>
            <a:lvl3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3pPr>
            <a:lvl4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4pPr>
            <a:lvl5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2000">
                <a:solidFill>
                  <a:schemeClr val="tx2"/>
                </a:solidFill>
                <a:latin typeface="Arial" charset="0"/>
              </a:defRPr>
            </a:lvl5pPr>
            <a:lvl6pPr marL="4572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6pPr>
            <a:lvl7pPr marL="9144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7pPr>
            <a:lvl8pPr marL="13716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8pPr>
            <a:lvl9pPr marL="18288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marL="285750" marR="0" lvl="0" indent="-28575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>
                <a:tab pos="275353" algn="l"/>
              </a:tabLst>
              <a:defRPr/>
            </a:pPr>
            <a:r>
              <a:rPr kumimoji="0" lang="en-US" sz="1600" b="0" i="0" u="none" strike="noStrike" kern="0" cap="none" spc="0" normalizeH="0" baseline="0" noProof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 (Headings)"/>
                <a:ea typeface="+mj-ea"/>
                <a:cs typeface="Calibri"/>
              </a:rPr>
              <a:t>Well, looks like you have found your next car, right?</a:t>
            </a:r>
          </a:p>
          <a:p>
            <a:pPr marL="285750" marR="0" lvl="0" indent="-28575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>
                <a:tab pos="275353" algn="l"/>
              </a:tabLst>
              <a:defRPr/>
            </a:pPr>
            <a:r>
              <a:rPr kumimoji="0" lang="en-US" sz="1600" b="0" i="0" u="none" strike="noStrike" kern="0" cap="none" spc="0" normalizeH="0" baseline="0" noProof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 (Headings)"/>
                <a:ea typeface="+mj-ea"/>
                <a:cs typeface="Calibri"/>
              </a:rPr>
              <a:t>So, was it everything you were looking for in your next car or anything missing?</a:t>
            </a:r>
          </a:p>
          <a:p>
            <a:pPr marL="285750" marR="0" lvl="0" indent="-28575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>
                <a:tab pos="275353" algn="l"/>
              </a:tabLst>
              <a:defRPr/>
            </a:pPr>
            <a:r>
              <a:rPr kumimoji="0" lang="en-US" sz="1600" b="0" i="0" u="none" strike="noStrike" kern="0" cap="none" spc="0" normalizeH="0" baseline="0" noProof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 (Headings)"/>
                <a:ea typeface="+mj-ea"/>
                <a:cs typeface="Calibri"/>
              </a:rPr>
              <a:t>So, are we ready to move forward?</a:t>
            </a:r>
          </a:p>
          <a:p>
            <a:pPr marL="285750" marR="0" lvl="0" indent="-28575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>
                <a:tab pos="275353" algn="l"/>
              </a:tabLst>
              <a:defRPr/>
            </a:pPr>
            <a:r>
              <a:rPr kumimoji="0" lang="en-US" sz="1600" b="0" i="0" u="none" strike="noStrike" kern="0" cap="none" spc="0" normalizeH="0" baseline="0" noProof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 (Headings)"/>
                <a:ea typeface="+mj-ea"/>
                <a:cs typeface="Calibri"/>
              </a:rPr>
              <a:t>Let's go inside and talk, if we have right the car for you.</a:t>
            </a:r>
          </a:p>
          <a:p>
            <a:pPr marL="285750" marR="0" lvl="0" indent="-28575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>
                <a:tab pos="275353" algn="l"/>
              </a:tabLst>
              <a:defRPr/>
            </a:pPr>
            <a:r>
              <a:rPr kumimoji="0" lang="en-US" sz="1600" b="0" i="0" u="none" strike="noStrike" kern="0" cap="none" spc="0" normalizeH="0" baseline="0" noProof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 (Headings)"/>
                <a:ea typeface="+mj-ea"/>
                <a:cs typeface="Calibri"/>
              </a:rPr>
              <a:t>Are you ready to go inside and work about the details so you can take it home as soon as possible?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609B13C-21A7-F890-DB08-96CDEBDDFB13}"/>
              </a:ext>
            </a:extLst>
          </p:cNvPr>
          <p:cNvCxnSpPr>
            <a:cxnSpLocks/>
          </p:cNvCxnSpPr>
          <p:nvPr/>
        </p:nvCxnSpPr>
        <p:spPr>
          <a:xfrm>
            <a:off x="2552700" y="5569039"/>
            <a:ext cx="565202" cy="0"/>
          </a:xfrm>
          <a:prstGeom prst="line">
            <a:avLst/>
          </a:prstGeom>
          <a:ln w="28575">
            <a:solidFill>
              <a:srgbClr val="293878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pic>
        <p:nvPicPr>
          <p:cNvPr id="9" name="Picture 8">
            <a:extLst>
              <a:ext uri="{FF2B5EF4-FFF2-40B4-BE49-F238E27FC236}">
                <a16:creationId xmlns:a16="http://schemas.microsoft.com/office/drawing/2014/main" id="{AB541890-B418-A89E-7B95-965E09EF3364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t="2395" b="48"/>
          <a:stretch/>
        </p:blipFill>
        <p:spPr>
          <a:xfrm>
            <a:off x="8075170" y="1886128"/>
            <a:ext cx="3589886" cy="4171504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01498526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 animBg="1"/>
      <p:bldP spid="16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pmnrZ8vQpKPicA3hWDt9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88emyrsxVN7Fn9gWiMUh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pmnrZ8vQpKPicA3hWDt9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heme/theme1.xml><?xml version="1.0" encoding="utf-8"?>
<a:theme xmlns:a="http://schemas.openxmlformats.org/drawingml/2006/main" name="Al-Futtaim Template 2025">
  <a:themeElements>
    <a:clrScheme name="Al-Futtaim_Colours">
      <a:dk1>
        <a:sysClr val="windowText" lastClr="000000"/>
      </a:dk1>
      <a:lt1>
        <a:sysClr val="window" lastClr="FFFFFF"/>
      </a:lt1>
      <a:dk2>
        <a:srgbClr val="0B1F41"/>
      </a:dk2>
      <a:lt2>
        <a:srgbClr val="FFFFFF"/>
      </a:lt2>
      <a:accent1>
        <a:srgbClr val="0B1F41"/>
      </a:accent1>
      <a:accent2>
        <a:srgbClr val="00AEEF"/>
      </a:accent2>
      <a:accent3>
        <a:srgbClr val="243754"/>
      </a:accent3>
      <a:accent4>
        <a:srgbClr val="E7E8E8"/>
      </a:accent4>
      <a:accent5>
        <a:srgbClr val="B3B3B3"/>
      </a:accent5>
      <a:accent6>
        <a:srgbClr val="7F7F7F"/>
      </a:accent6>
      <a:hlink>
        <a:srgbClr val="00AEEF"/>
      </a:hlink>
      <a:folHlink>
        <a:srgbClr val="0B1F41"/>
      </a:folHlink>
    </a:clrScheme>
    <a:fontScheme name="Al-Futtaim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4"/>
        </a:solidFill>
        <a:ln>
          <a:noFill/>
        </a:ln>
      </a:spPr>
      <a:bodyPr lIns="108000" tIns="72000" rIns="108000" bIns="72000" rtlCol="0" anchor="t">
        <a:noAutofit/>
      </a:bodyPr>
      <a:lstStyle>
        <a:defPPr algn="l">
          <a:defRPr dirty="0" err="1">
            <a:solidFill>
              <a:schemeClr val="tx2"/>
            </a:solidFill>
          </a:defRPr>
        </a:defPPr>
      </a:lstStyle>
      <a:style>
        <a:lnRef idx="2">
          <a:schemeClr val="accent1">
            <a:shade val="15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180000" indent="-180000" algn="l">
          <a:buClr>
            <a:schemeClr val="tx2"/>
          </a:buClr>
          <a:buFont typeface="Arial" panose="020B0604020202020204" pitchFamily="34" charset="0"/>
          <a:buChar char="•"/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Al-Futtaim Template 2025" id="{B1702C14-6A40-44EC-8956-B35B4121F697}" vid="{A61187BB-98D3-4EF2-AABC-82EA5CA3E4E9}"/>
    </a:ext>
  </a:extLst>
</a:theme>
</file>

<file path=ppt/theme/theme2.xml><?xml version="1.0" encoding="utf-8"?>
<a:theme xmlns:a="http://schemas.openxmlformats.org/drawingml/2006/main" name="Al Futtaim_CF_DE1410">
  <a:themeElements>
    <a:clrScheme name="Current">
      <a:dk1>
        <a:srgbClr val="000000"/>
      </a:dk1>
      <a:lt1>
        <a:srgbClr val="FFFFFF"/>
      </a:lt1>
      <a:dk2>
        <a:srgbClr val="005BAA"/>
      </a:dk2>
      <a:lt2>
        <a:srgbClr val="FFFFFF"/>
      </a:lt2>
      <a:accent1>
        <a:srgbClr val="E6E6E6"/>
      </a:accent1>
      <a:accent2>
        <a:srgbClr val="00AEE5"/>
      </a:accent2>
      <a:accent3>
        <a:srgbClr val="005BAA"/>
      </a:accent3>
      <a:accent4>
        <a:srgbClr val="152A38"/>
      </a:accent4>
      <a:accent5>
        <a:srgbClr val="238077"/>
      </a:accent5>
      <a:accent6>
        <a:srgbClr val="808080"/>
      </a:accent6>
      <a:hlink>
        <a:srgbClr val="005BAA"/>
      </a:hlink>
      <a:folHlink>
        <a:srgbClr val="152A38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Al Futtaim_CF_DE1410 1">
        <a:dk1>
          <a:srgbClr val="000000"/>
        </a:dk1>
        <a:lt1>
          <a:srgbClr val="FFFFFF"/>
        </a:lt1>
        <a:dk2>
          <a:srgbClr val="005BAA"/>
        </a:dk2>
        <a:lt2>
          <a:srgbClr val="FFFFFF"/>
        </a:lt2>
        <a:accent1>
          <a:srgbClr val="E6E6E6"/>
        </a:accent1>
        <a:accent2>
          <a:srgbClr val="00AEE5"/>
        </a:accent2>
        <a:accent3>
          <a:srgbClr val="FFFFFF"/>
        </a:accent3>
        <a:accent4>
          <a:srgbClr val="000000"/>
        </a:accent4>
        <a:accent5>
          <a:srgbClr val="F0F0F0"/>
        </a:accent5>
        <a:accent6>
          <a:srgbClr val="009DCF"/>
        </a:accent6>
        <a:hlink>
          <a:srgbClr val="005BAA"/>
        </a:hlink>
        <a:folHlink>
          <a:srgbClr val="152A38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Presentation1" id="{E2B687F4-C80B-429C-83E3-3A7977242714}" vid="{2ED9FEF6-438C-4F08-BC00-FC2DE24B45EF}"/>
    </a:ext>
  </a:extLst>
</a:theme>
</file>

<file path=ppt/theme/theme3.xml><?xml version="1.0" encoding="utf-8"?>
<a:theme xmlns:a="http://schemas.openxmlformats.org/drawingml/2006/main" name="Office Theme">
  <a:themeElements>
    <a:clrScheme name="Al-Futtaim_Colours">
      <a:dk1>
        <a:sysClr val="windowText" lastClr="000000"/>
      </a:dk1>
      <a:lt1>
        <a:sysClr val="window" lastClr="FFFFFF"/>
      </a:lt1>
      <a:dk2>
        <a:srgbClr val="0B1F41"/>
      </a:dk2>
      <a:lt2>
        <a:srgbClr val="FFFFFF"/>
      </a:lt2>
      <a:accent1>
        <a:srgbClr val="0B1F41"/>
      </a:accent1>
      <a:accent2>
        <a:srgbClr val="00AEEF"/>
      </a:accent2>
      <a:accent3>
        <a:srgbClr val="243754"/>
      </a:accent3>
      <a:accent4>
        <a:srgbClr val="E7E8E8"/>
      </a:accent4>
      <a:accent5>
        <a:srgbClr val="B3B3B3"/>
      </a:accent5>
      <a:accent6>
        <a:srgbClr val="7F7F7F"/>
      </a:accent6>
      <a:hlink>
        <a:srgbClr val="00AEEF"/>
      </a:hlink>
      <a:folHlink>
        <a:srgbClr val="0B1F41"/>
      </a:folHlink>
    </a:clrScheme>
    <a:fontScheme name="Al-Futtaim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4.xml><?xml version="1.0" encoding="utf-8"?>
<a:theme xmlns:a="http://schemas.openxmlformats.org/drawingml/2006/main" name="Office Theme">
  <a:themeElements>
    <a:clrScheme name="Al-Futtaim_Colours">
      <a:dk1>
        <a:sysClr val="windowText" lastClr="000000"/>
      </a:dk1>
      <a:lt1>
        <a:sysClr val="window" lastClr="FFFFFF"/>
      </a:lt1>
      <a:dk2>
        <a:srgbClr val="0B1F41"/>
      </a:dk2>
      <a:lt2>
        <a:srgbClr val="FFFFFF"/>
      </a:lt2>
      <a:accent1>
        <a:srgbClr val="0B1F41"/>
      </a:accent1>
      <a:accent2>
        <a:srgbClr val="00AEEF"/>
      </a:accent2>
      <a:accent3>
        <a:srgbClr val="243754"/>
      </a:accent3>
      <a:accent4>
        <a:srgbClr val="E7E8E8"/>
      </a:accent4>
      <a:accent5>
        <a:srgbClr val="B3B3B3"/>
      </a:accent5>
      <a:accent6>
        <a:srgbClr val="7F7F7F"/>
      </a:accent6>
      <a:hlink>
        <a:srgbClr val="00AEEF"/>
      </a:hlink>
      <a:folHlink>
        <a:srgbClr val="0B1F41"/>
      </a:folHlink>
    </a:clrScheme>
    <a:fontScheme name="Al-Futtaim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a52e92df-ef05-4178-9ff7-ae52c84e8b80" xsi:nil="true"/>
    <lcf76f155ced4ddcb4097134ff3c332f xmlns="b1dd8b74-5c72-4bed-9600-dc522257a853">
      <Terms xmlns="http://schemas.microsoft.com/office/infopath/2007/PartnerControls"/>
    </lcf76f155ced4ddcb4097134ff3c332f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E2C82D294E8B3E408D6789D5DB978365" ma:contentTypeVersion="17" ma:contentTypeDescription="Create a new document." ma:contentTypeScope="" ma:versionID="6ee320358f90c04651861a51e3fc31db">
  <xsd:schema xmlns:xsd="http://www.w3.org/2001/XMLSchema" xmlns:xs="http://www.w3.org/2001/XMLSchema" xmlns:p="http://schemas.microsoft.com/office/2006/metadata/properties" xmlns:ns2="b1dd8b74-5c72-4bed-9600-dc522257a853" xmlns:ns3="a52e92df-ef05-4178-9ff7-ae52c84e8b80" targetNamespace="http://schemas.microsoft.com/office/2006/metadata/properties" ma:root="true" ma:fieldsID="25a970a39b1f11a4dd3fc4de4bd6885b" ns2:_="" ns3:_="">
    <xsd:import namespace="b1dd8b74-5c72-4bed-9600-dc522257a853"/>
    <xsd:import namespace="a52e92df-ef05-4178-9ff7-ae52c84e8b80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GenerationTime" minOccurs="0"/>
                <xsd:element ref="ns2:MediaServiceEventHashCode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LengthInSeconds" minOccurs="0"/>
                <xsd:element ref="ns2:MediaServiceSearchProperties" minOccurs="0"/>
                <xsd:element ref="ns2:MediaServiceObjectDetectorVersions" minOccurs="0"/>
                <xsd:element ref="ns2:MediaServiceOCR" minOccurs="0"/>
                <xsd:element ref="ns2:MediaServiceLocation" minOccurs="0"/>
                <xsd:element ref="ns3:SharedWithUsers" minOccurs="0"/>
                <xsd:element ref="ns3:SharedWithDetails" minOccurs="0"/>
                <xsd:element ref="ns2:MediaServiceBilling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1dd8b74-5c72-4bed-9600-dc522257a853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GenerationTime" ma:index="10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1" nillable="true" ma:displayName="MediaServiceEventHashCode" ma:hidden="true" ma:internalName="MediaServiceEventHashCode" ma:readOnly="true">
      <xsd:simpleType>
        <xsd:restriction base="dms:Text"/>
      </xsd:simpleType>
    </xsd:element>
    <xsd:element name="lcf76f155ced4ddcb4097134ff3c332f" ma:index="13" nillable="true" ma:taxonomy="true" ma:internalName="lcf76f155ced4ddcb4097134ff3c332f" ma:taxonomyFieldName="MediaServiceImageTags" ma:displayName="Image Tags" ma:readOnly="false" ma:fieldId="{5cf76f15-5ced-4ddc-b409-7134ff3c332f}" ma:taxonomyMulti="true" ma:sspId="ff333aa0-1660-4a69-b487-86ecbf4b4bc3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5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LengthInSeconds" ma:index="16" nillable="true" ma:displayName="MediaLengthInSeconds" ma:hidden="true" ma:internalName="MediaLengthInSeconds" ma:readOnly="true">
      <xsd:simpleType>
        <xsd:restriction base="dms:Unknown"/>
      </xsd:simpleType>
    </xsd:element>
    <xsd:element name="MediaServiceSearchProperties" ma:index="17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18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Location" ma:index="20" nillable="true" ma:displayName="Location" ma:indexed="true" ma:internalName="MediaServiceLocation" ma:readOnly="true">
      <xsd:simpleType>
        <xsd:restriction base="dms:Text"/>
      </xsd:simpleType>
    </xsd:element>
    <xsd:element name="MediaServiceBillingMetadata" ma:index="23" nillable="true" ma:displayName="MediaServiceBillingMetadata" ma:hidden="true" ma:internalName="MediaServiceBillingMetadata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52e92df-ef05-4178-9ff7-ae52c84e8b80" elementFormDefault="qualified">
    <xsd:import namespace="http://schemas.microsoft.com/office/2006/documentManagement/types"/>
    <xsd:import namespace="http://schemas.microsoft.com/office/infopath/2007/PartnerControls"/>
    <xsd:element name="TaxCatchAll" ma:index="14" nillable="true" ma:displayName="Taxonomy Catch All Column" ma:hidden="true" ma:list="{0c7a4276-aa78-46fd-88ea-7888c1f879c8}" ma:internalName="TaxCatchAll" ma:showField="CatchAllData" ma:web="a52e92df-ef05-4178-9ff7-ae52c84e8b80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21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22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07D51296-420A-4214-A5F8-04CEFE598FBD}">
  <ds:schemaRefs>
    <ds:schemaRef ds:uri="http://schemas.microsoft.com/office/2006/metadata/properties"/>
    <ds:schemaRef ds:uri="http://schemas.microsoft.com/office/infopath/2007/PartnerControls"/>
    <ds:schemaRef ds:uri="a52e92df-ef05-4178-9ff7-ae52c84e8b80"/>
    <ds:schemaRef ds:uri="b1dd8b74-5c72-4bed-9600-dc522257a853"/>
  </ds:schemaRefs>
</ds:datastoreItem>
</file>

<file path=customXml/itemProps2.xml><?xml version="1.0" encoding="utf-8"?>
<ds:datastoreItem xmlns:ds="http://schemas.openxmlformats.org/officeDocument/2006/customXml" ds:itemID="{D323BB5A-4D71-49A6-907D-E67AEB78BDD5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b1dd8b74-5c72-4bed-9600-dc522257a853"/>
    <ds:schemaRef ds:uri="a52e92df-ef05-4178-9ff7-ae52c84e8b80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1D0035E4-D41C-48B4-84BC-6356987FEAAD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25</TotalTime>
  <Words>1063</Words>
  <Application>Microsoft Office PowerPoint</Application>
  <PresentationFormat>Widescreen</PresentationFormat>
  <Paragraphs>195</Paragraphs>
  <Slides>15</Slides>
  <Notes>8</Notes>
  <HiddenSlides>0</HiddenSlides>
  <MMClips>0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15</vt:i4>
      </vt:variant>
    </vt:vector>
  </HeadingPairs>
  <TitlesOfParts>
    <vt:vector size="28" baseType="lpstr">
      <vt:lpstr>Arial</vt:lpstr>
      <vt:lpstr>Arial (Headings)</vt:lpstr>
      <vt:lpstr>Arial MT</vt:lpstr>
      <vt:lpstr>Aston Martin Flare</vt:lpstr>
      <vt:lpstr>Calibri</vt:lpstr>
      <vt:lpstr>Segoe Sans</vt:lpstr>
      <vt:lpstr>Symbol</vt:lpstr>
      <vt:lpstr>Verdana</vt:lpstr>
      <vt:lpstr>Wingdings</vt:lpstr>
      <vt:lpstr>Al-Futtaim Template 2025</vt:lpstr>
      <vt:lpstr>Al Futtaim_CF_DE1410</vt:lpstr>
      <vt:lpstr>think-cell Folie</vt:lpstr>
      <vt:lpstr>think-cell Slide</vt:lpstr>
      <vt:lpstr>Sales Accreditation Summary Modules 3 &amp; 4</vt:lpstr>
      <vt:lpstr>Product Presentation – What do I need to know?</vt:lpstr>
      <vt:lpstr>Product Presentation</vt:lpstr>
      <vt:lpstr>Product Presentation - SPECIT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Negotiation &amp; Closing</vt:lpstr>
      <vt:lpstr>Negotiations</vt:lpstr>
      <vt:lpstr>PowerPoint Presentation</vt:lpstr>
      <vt:lpstr>PowerPoint Presentation</vt:lpstr>
      <vt:lpstr>PowerPoint Presentation</vt:lpstr>
    </vt:vector>
  </TitlesOfParts>
  <Company>Al Futtaim Group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Oliver Menebhi</dc:creator>
  <cp:lastModifiedBy>Fatma Alsagaf</cp:lastModifiedBy>
  <cp:revision>1</cp:revision>
  <dcterms:created xsi:type="dcterms:W3CDTF">2025-07-09T11:29:56Z</dcterms:created>
  <dcterms:modified xsi:type="dcterms:W3CDTF">2025-08-21T13:04:3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a8b038a4-b690-439f-9fce-f9c106be0ae1_Enabled">
    <vt:lpwstr>true</vt:lpwstr>
  </property>
  <property fmtid="{D5CDD505-2E9C-101B-9397-08002B2CF9AE}" pid="3" name="MSIP_Label_a8b038a4-b690-439f-9fce-f9c106be0ae1_SetDate">
    <vt:lpwstr>2025-07-16T07:08:59Z</vt:lpwstr>
  </property>
  <property fmtid="{D5CDD505-2E9C-101B-9397-08002B2CF9AE}" pid="4" name="MSIP_Label_a8b038a4-b690-439f-9fce-f9c106be0ae1_Method">
    <vt:lpwstr>Standard</vt:lpwstr>
  </property>
  <property fmtid="{D5CDD505-2E9C-101B-9397-08002B2CF9AE}" pid="5" name="MSIP_Label_a8b038a4-b690-439f-9fce-f9c106be0ae1_Name">
    <vt:lpwstr>Restricted - No Encryption</vt:lpwstr>
  </property>
  <property fmtid="{D5CDD505-2E9C-101B-9397-08002B2CF9AE}" pid="6" name="MSIP_Label_a8b038a4-b690-439f-9fce-f9c106be0ae1_SiteId">
    <vt:lpwstr>79ddd250-40e1-4d41-ba0f-c9e9849725cb</vt:lpwstr>
  </property>
  <property fmtid="{D5CDD505-2E9C-101B-9397-08002B2CF9AE}" pid="7" name="MSIP_Label_a8b038a4-b690-439f-9fce-f9c106be0ae1_ActionId">
    <vt:lpwstr>25dd4954-0a76-4ab0-b81f-01bc6312342c</vt:lpwstr>
  </property>
  <property fmtid="{D5CDD505-2E9C-101B-9397-08002B2CF9AE}" pid="8" name="MSIP_Label_a8b038a4-b690-439f-9fce-f9c106be0ae1_ContentBits">
    <vt:lpwstr>2</vt:lpwstr>
  </property>
  <property fmtid="{D5CDD505-2E9C-101B-9397-08002B2CF9AE}" pid="9" name="MSIP_Label_a8b038a4-b690-439f-9fce-f9c106be0ae1_Tag">
    <vt:lpwstr>10, 1, 2, 1</vt:lpwstr>
  </property>
  <property fmtid="{D5CDD505-2E9C-101B-9397-08002B2CF9AE}" pid="10" name="ClassificationContentMarkingFooterLocations">
    <vt:lpwstr>Al-Futtaim Template 2025:8\Al Futtaim_CF_DE1410:4</vt:lpwstr>
  </property>
  <property fmtid="{D5CDD505-2E9C-101B-9397-08002B2CF9AE}" pid="11" name="ClassificationContentMarkingFooterText">
    <vt:lpwstr>Restricted : General Al-Futtaim Group</vt:lpwstr>
  </property>
  <property fmtid="{D5CDD505-2E9C-101B-9397-08002B2CF9AE}" pid="12" name="ContentTypeId">
    <vt:lpwstr>0x010100E2C82D294E8B3E408D6789D5DB978365</vt:lpwstr>
  </property>
</Properties>
</file>